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3"/>
  </p:notesMasterIdLst>
  <p:handoutMasterIdLst>
    <p:handoutMasterId r:id="rId4"/>
  </p:handoutMasterIdLst>
  <p:sldIdLst>
    <p:sldId id="446" r:id="rId2"/>
  </p:sldIdLst>
  <p:sldSz cx="5969000" cy="4724400"/>
  <p:notesSz cx="7348538" cy="10410825"/>
  <p:custDataLst>
    <p:tags r:id="rId5"/>
  </p:custDataLst>
  <p:defaultTextStyle>
    <a:defPPr>
      <a:defRPr lang="en-US"/>
    </a:defPPr>
    <a:lvl1pPr marL="0" algn="l" defTabSz="684252" rtl="0" eaLnBrk="1" latinLnBrk="0" hangingPunct="1">
      <a:defRPr sz="1347" kern="1200">
        <a:solidFill>
          <a:schemeClr val="tx1"/>
        </a:solidFill>
        <a:latin typeface="+mn-lt"/>
        <a:ea typeface="+mn-ea"/>
        <a:cs typeface="+mn-cs"/>
      </a:defRPr>
    </a:lvl1pPr>
    <a:lvl2pPr marL="342126" algn="l" defTabSz="684252" rtl="0" eaLnBrk="1" latinLnBrk="0" hangingPunct="1">
      <a:defRPr sz="1347" kern="1200">
        <a:solidFill>
          <a:schemeClr val="tx1"/>
        </a:solidFill>
        <a:latin typeface="+mn-lt"/>
        <a:ea typeface="+mn-ea"/>
        <a:cs typeface="+mn-cs"/>
      </a:defRPr>
    </a:lvl2pPr>
    <a:lvl3pPr marL="684252" algn="l" defTabSz="684252" rtl="0" eaLnBrk="1" latinLnBrk="0" hangingPunct="1">
      <a:defRPr sz="1347" kern="1200">
        <a:solidFill>
          <a:schemeClr val="tx1"/>
        </a:solidFill>
        <a:latin typeface="+mn-lt"/>
        <a:ea typeface="+mn-ea"/>
        <a:cs typeface="+mn-cs"/>
      </a:defRPr>
    </a:lvl3pPr>
    <a:lvl4pPr marL="1026377" algn="l" defTabSz="684252" rtl="0" eaLnBrk="1" latinLnBrk="0" hangingPunct="1">
      <a:defRPr sz="1347" kern="1200">
        <a:solidFill>
          <a:schemeClr val="tx1"/>
        </a:solidFill>
        <a:latin typeface="+mn-lt"/>
        <a:ea typeface="+mn-ea"/>
        <a:cs typeface="+mn-cs"/>
      </a:defRPr>
    </a:lvl4pPr>
    <a:lvl5pPr marL="1368503" algn="l" defTabSz="684252" rtl="0" eaLnBrk="1" latinLnBrk="0" hangingPunct="1">
      <a:defRPr sz="1347" kern="1200">
        <a:solidFill>
          <a:schemeClr val="tx1"/>
        </a:solidFill>
        <a:latin typeface="+mn-lt"/>
        <a:ea typeface="+mn-ea"/>
        <a:cs typeface="+mn-cs"/>
      </a:defRPr>
    </a:lvl5pPr>
    <a:lvl6pPr marL="1710629" algn="l" defTabSz="684252" rtl="0" eaLnBrk="1" latinLnBrk="0" hangingPunct="1">
      <a:defRPr sz="1347" kern="1200">
        <a:solidFill>
          <a:schemeClr val="tx1"/>
        </a:solidFill>
        <a:latin typeface="+mn-lt"/>
        <a:ea typeface="+mn-ea"/>
        <a:cs typeface="+mn-cs"/>
      </a:defRPr>
    </a:lvl6pPr>
    <a:lvl7pPr marL="2052754" algn="l" defTabSz="684252" rtl="0" eaLnBrk="1" latinLnBrk="0" hangingPunct="1">
      <a:defRPr sz="1347" kern="1200">
        <a:solidFill>
          <a:schemeClr val="tx1"/>
        </a:solidFill>
        <a:latin typeface="+mn-lt"/>
        <a:ea typeface="+mn-ea"/>
        <a:cs typeface="+mn-cs"/>
      </a:defRPr>
    </a:lvl7pPr>
    <a:lvl8pPr marL="2394879" algn="l" defTabSz="684252" rtl="0" eaLnBrk="1" latinLnBrk="0" hangingPunct="1">
      <a:defRPr sz="1347" kern="1200">
        <a:solidFill>
          <a:schemeClr val="tx1"/>
        </a:solidFill>
        <a:latin typeface="+mn-lt"/>
        <a:ea typeface="+mn-ea"/>
        <a:cs typeface="+mn-cs"/>
      </a:defRPr>
    </a:lvl8pPr>
    <a:lvl9pPr marL="2737005" algn="l" defTabSz="684252" rtl="0" eaLnBrk="1" latinLnBrk="0" hangingPunct="1">
      <a:defRPr sz="1347"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1410" userDrawn="1">
          <p15:clr>
            <a:srgbClr val="A4A3A4"/>
          </p15:clr>
        </p15:guide>
        <p15:guide id="12" orient="horz" pos="1097" userDrawn="1">
          <p15:clr>
            <a:srgbClr val="A4A3A4"/>
          </p15:clr>
        </p15:guide>
        <p15:guide id="13" orient="horz" pos="1769" userDrawn="1">
          <p15:clr>
            <a:srgbClr val="A4A3A4"/>
          </p15:clr>
        </p15:guide>
        <p15:guide id="14" orient="horz" pos="2129" userDrawn="1">
          <p15:clr>
            <a:srgbClr val="A4A3A4"/>
          </p15:clr>
        </p15:guide>
        <p15:guide id="15" orient="horz" pos="2472" userDrawn="1">
          <p15:clr>
            <a:srgbClr val="A4A3A4"/>
          </p15:clr>
        </p15:guide>
      </p15:sldGuideLst>
    </p:ext>
    <p:ext uri="{2D200454-40CA-4A62-9FC3-DE9A4176ACB9}">
      <p15:notesGuideLst xmlns:p15="http://schemas.microsoft.com/office/powerpoint/2012/main">
        <p15:guide id="1" orient="horz" pos="3279" userDrawn="1">
          <p15:clr>
            <a:srgbClr val="A4A3A4"/>
          </p15:clr>
        </p15:guide>
        <p15:guide id="2" pos="231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淺色樣式 2 - 輔色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048" autoAdjust="0"/>
  </p:normalViewPr>
  <p:slideViewPr>
    <p:cSldViewPr snapToGrid="0" showGuides="1">
      <p:cViewPr varScale="1">
        <p:scale>
          <a:sx n="95" d="100"/>
          <a:sy n="95" d="100"/>
        </p:scale>
        <p:origin x="1428" y="72"/>
      </p:cViewPr>
      <p:guideLst>
        <p:guide/>
        <p:guide orient="horz" pos="1410"/>
        <p:guide orient="horz" pos="1097"/>
        <p:guide orient="horz" pos="1769"/>
        <p:guide orient="horz" pos="2129"/>
        <p:guide orient="horz" pos="2472"/>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0"/>
    </p:cViewPr>
  </p:sorterViewPr>
  <p:notesViewPr>
    <p:cSldViewPr snapToGrid="0" showGuides="1">
      <p:cViewPr varScale="1">
        <p:scale>
          <a:sx n="72" d="100"/>
          <a:sy n="72" d="100"/>
        </p:scale>
        <p:origin x="3246" y="54"/>
      </p:cViewPr>
      <p:guideLst>
        <p:guide orient="horz" pos="3279"/>
        <p:guide pos="231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84586" cy="519977"/>
          </a:xfrm>
          <a:prstGeom prst="rect">
            <a:avLst/>
          </a:prstGeom>
        </p:spPr>
        <p:txBody>
          <a:bodyPr vert="horz" lIns="96522" tIns="48262" rIns="96522" bIns="48262" rtlCol="0"/>
          <a:lstStyle>
            <a:lvl1pPr algn="l">
              <a:defRPr sz="12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62310" y="1"/>
            <a:ext cx="3184586" cy="519977"/>
          </a:xfrm>
          <a:prstGeom prst="rect">
            <a:avLst/>
          </a:prstGeom>
        </p:spPr>
        <p:txBody>
          <a:bodyPr vert="horz" lIns="96522" tIns="48262" rIns="96522" bIns="48262" rtlCol="0"/>
          <a:lstStyle>
            <a:lvl1pPr algn="r">
              <a:defRPr sz="1200"/>
            </a:lvl1pPr>
          </a:lstStyle>
          <a:p>
            <a:fld id="{B4AD245C-091B-44E2-BFB0-BD94217887F7}" type="datetimeFigureOut">
              <a:rPr lang="en-US" smtClean="0">
                <a:latin typeface="Arial" panose="020B0604020202020204" pitchFamily="34" charset="0"/>
              </a:rPr>
              <a:t>6/30/20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889236"/>
            <a:ext cx="3184586" cy="519977"/>
          </a:xfrm>
          <a:prstGeom prst="rect">
            <a:avLst/>
          </a:prstGeom>
        </p:spPr>
        <p:txBody>
          <a:bodyPr vert="horz" lIns="96522" tIns="48262" rIns="96522" bIns="48262" rtlCol="0" anchor="b"/>
          <a:lstStyle>
            <a:lvl1pPr algn="l">
              <a:defRPr sz="12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62310" y="9889236"/>
            <a:ext cx="3184586" cy="519977"/>
          </a:xfrm>
          <a:prstGeom prst="rect">
            <a:avLst/>
          </a:prstGeom>
        </p:spPr>
        <p:txBody>
          <a:bodyPr vert="horz" lIns="96522" tIns="48262" rIns="96522" bIns="48262" rtlCol="0" anchor="b"/>
          <a:lstStyle>
            <a:lvl1pPr algn="r">
              <a:defRPr sz="12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3184366" cy="520541"/>
          </a:xfrm>
          <a:prstGeom prst="rect">
            <a:avLst/>
          </a:prstGeom>
        </p:spPr>
        <p:txBody>
          <a:bodyPr vert="horz" lIns="104554" tIns="52276" rIns="104554" bIns="52276" rtlCol="0"/>
          <a:lstStyle>
            <a:lvl1pPr algn="l">
              <a:defRPr sz="13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62474" y="2"/>
            <a:ext cx="3184366" cy="520541"/>
          </a:xfrm>
          <a:prstGeom prst="rect">
            <a:avLst/>
          </a:prstGeom>
        </p:spPr>
        <p:txBody>
          <a:bodyPr vert="horz" lIns="104554" tIns="52276" rIns="104554" bIns="52276" rtlCol="0"/>
          <a:lstStyle>
            <a:lvl1pPr algn="r">
              <a:defRPr sz="1300">
                <a:latin typeface="Arial" panose="020B0604020202020204" pitchFamily="34" charset="0"/>
              </a:defRPr>
            </a:lvl1pPr>
          </a:lstStyle>
          <a:p>
            <a:fld id="{0BA5BBE4-AEA3-489A-A28E-0C2FAF2506E3}" type="datetimeFigureOut">
              <a:rPr lang="en-US" smtClean="0"/>
              <a:pPr/>
              <a:t>6/30/2021</a:t>
            </a:fld>
            <a:endParaRPr lang="en-US" dirty="0"/>
          </a:p>
        </p:txBody>
      </p:sp>
      <p:sp>
        <p:nvSpPr>
          <p:cNvPr id="4" name="Slide Image Placeholder 3"/>
          <p:cNvSpPr>
            <a:spLocks noGrp="1" noRot="1" noChangeAspect="1"/>
          </p:cNvSpPr>
          <p:nvPr>
            <p:ph type="sldImg" idx="2"/>
          </p:nvPr>
        </p:nvSpPr>
        <p:spPr>
          <a:xfrm>
            <a:off x="1208088" y="781050"/>
            <a:ext cx="4932362" cy="3903663"/>
          </a:xfrm>
          <a:prstGeom prst="rect">
            <a:avLst/>
          </a:prstGeom>
          <a:noFill/>
          <a:ln w="12700">
            <a:solidFill>
              <a:prstClr val="black"/>
            </a:solidFill>
          </a:ln>
        </p:spPr>
        <p:txBody>
          <a:bodyPr vert="horz" lIns="104554" tIns="52276" rIns="104554" bIns="52276" rtlCol="0" anchor="ctr"/>
          <a:lstStyle/>
          <a:p>
            <a:endParaRPr lang="en-GB" dirty="0"/>
          </a:p>
        </p:txBody>
      </p:sp>
      <p:sp>
        <p:nvSpPr>
          <p:cNvPr id="5" name="Notes Placeholder 4"/>
          <p:cNvSpPr>
            <a:spLocks noGrp="1"/>
          </p:cNvSpPr>
          <p:nvPr>
            <p:ph type="body" sz="quarter" idx="3"/>
          </p:nvPr>
        </p:nvSpPr>
        <p:spPr>
          <a:xfrm>
            <a:off x="734855" y="4945144"/>
            <a:ext cx="5878830" cy="4684871"/>
          </a:xfrm>
          <a:prstGeom prst="rect">
            <a:avLst/>
          </a:prstGeom>
        </p:spPr>
        <p:txBody>
          <a:bodyPr vert="horz" lIns="104554" tIns="52276" rIns="104554" bIns="5227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 y="9888479"/>
            <a:ext cx="3184366" cy="520541"/>
          </a:xfrm>
          <a:prstGeom prst="rect">
            <a:avLst/>
          </a:prstGeom>
        </p:spPr>
        <p:txBody>
          <a:bodyPr vert="horz" lIns="104554" tIns="52276" rIns="104554" bIns="52276" rtlCol="0" anchor="b"/>
          <a:lstStyle>
            <a:lvl1pPr algn="l">
              <a:defRPr sz="13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62474" y="9888479"/>
            <a:ext cx="3184366" cy="520541"/>
          </a:xfrm>
          <a:prstGeom prst="rect">
            <a:avLst/>
          </a:prstGeom>
        </p:spPr>
        <p:txBody>
          <a:bodyPr vert="horz" lIns="104554" tIns="52276" rIns="104554" bIns="52276" rtlCol="0" anchor="b"/>
          <a:lstStyle>
            <a:lvl1pPr algn="r">
              <a:defRPr sz="13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684252" rtl="0" eaLnBrk="1" latinLnBrk="0" hangingPunct="1">
      <a:defRPr sz="898" kern="1200">
        <a:solidFill>
          <a:schemeClr val="tx1"/>
        </a:solidFill>
        <a:latin typeface="Arial" panose="020B0604020202020204" pitchFamily="34" charset="0"/>
        <a:ea typeface="+mn-ea"/>
        <a:cs typeface="+mn-cs"/>
      </a:defRPr>
    </a:lvl1pPr>
    <a:lvl2pPr marL="342126" algn="l" defTabSz="684252" rtl="0" eaLnBrk="1" latinLnBrk="0" hangingPunct="1">
      <a:defRPr sz="898" kern="1200">
        <a:solidFill>
          <a:schemeClr val="tx1"/>
        </a:solidFill>
        <a:latin typeface="Arial" panose="020B0604020202020204" pitchFamily="34" charset="0"/>
        <a:ea typeface="+mn-ea"/>
        <a:cs typeface="+mn-cs"/>
      </a:defRPr>
    </a:lvl2pPr>
    <a:lvl3pPr marL="684252" algn="l" defTabSz="684252" rtl="0" eaLnBrk="1" latinLnBrk="0" hangingPunct="1">
      <a:defRPr sz="898" kern="1200">
        <a:solidFill>
          <a:schemeClr val="tx1"/>
        </a:solidFill>
        <a:latin typeface="Arial" panose="020B0604020202020204" pitchFamily="34" charset="0"/>
        <a:ea typeface="+mn-ea"/>
        <a:cs typeface="+mn-cs"/>
      </a:defRPr>
    </a:lvl3pPr>
    <a:lvl4pPr marL="1026377" algn="l" defTabSz="684252" rtl="0" eaLnBrk="1" latinLnBrk="0" hangingPunct="1">
      <a:defRPr sz="898" kern="1200">
        <a:solidFill>
          <a:schemeClr val="tx1"/>
        </a:solidFill>
        <a:latin typeface="Arial" panose="020B0604020202020204" pitchFamily="34" charset="0"/>
        <a:ea typeface="+mn-ea"/>
        <a:cs typeface="+mn-cs"/>
      </a:defRPr>
    </a:lvl4pPr>
    <a:lvl5pPr marL="1368503" algn="l" defTabSz="684252" rtl="0" eaLnBrk="1" latinLnBrk="0" hangingPunct="1">
      <a:defRPr sz="898" kern="1200">
        <a:solidFill>
          <a:schemeClr val="tx1"/>
        </a:solidFill>
        <a:latin typeface="Arial" panose="020B0604020202020204" pitchFamily="34" charset="0"/>
        <a:ea typeface="+mn-ea"/>
        <a:cs typeface="+mn-cs"/>
      </a:defRPr>
    </a:lvl5pPr>
    <a:lvl6pPr marL="1710629" algn="l" defTabSz="684252" rtl="0" eaLnBrk="1" latinLnBrk="0" hangingPunct="1">
      <a:defRPr sz="898" kern="1200">
        <a:solidFill>
          <a:schemeClr val="tx1"/>
        </a:solidFill>
        <a:latin typeface="+mn-lt"/>
        <a:ea typeface="+mn-ea"/>
        <a:cs typeface="+mn-cs"/>
      </a:defRPr>
    </a:lvl6pPr>
    <a:lvl7pPr marL="2052754" algn="l" defTabSz="684252" rtl="0" eaLnBrk="1" latinLnBrk="0" hangingPunct="1">
      <a:defRPr sz="898" kern="1200">
        <a:solidFill>
          <a:schemeClr val="tx1"/>
        </a:solidFill>
        <a:latin typeface="+mn-lt"/>
        <a:ea typeface="+mn-ea"/>
        <a:cs typeface="+mn-cs"/>
      </a:defRPr>
    </a:lvl7pPr>
    <a:lvl8pPr marL="2394879" algn="l" defTabSz="684252" rtl="0" eaLnBrk="1" latinLnBrk="0" hangingPunct="1">
      <a:defRPr sz="898" kern="1200">
        <a:solidFill>
          <a:schemeClr val="tx1"/>
        </a:solidFill>
        <a:latin typeface="+mn-lt"/>
        <a:ea typeface="+mn-ea"/>
        <a:cs typeface="+mn-cs"/>
      </a:defRPr>
    </a:lvl8pPr>
    <a:lvl9pPr marL="2737005" algn="l" defTabSz="684252" rtl="0" eaLnBrk="1" latinLnBrk="0" hangingPunct="1">
      <a:defRPr sz="898"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首頁_黑底圖片">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232651" y="3738692"/>
            <a:ext cx="2737755" cy="636325"/>
          </a:xfrm>
          <a:prstGeom prst="rect">
            <a:avLst/>
          </a:prstGeom>
        </p:spPr>
        <p:txBody>
          <a:bodyPr lIns="0" tIns="0" rIns="0" bIns="0" anchor="b" anchorCtr="0">
            <a:noAutofit/>
          </a:bodyPr>
          <a:lstStyle>
            <a:lvl1pPr marL="0" indent="0" algn="l">
              <a:lnSpc>
                <a:spcPct val="100000"/>
              </a:lnSpc>
              <a:spcAft>
                <a:spcPts val="0"/>
              </a:spcAft>
              <a:buNone/>
              <a:defRPr sz="1599" b="0">
                <a:solidFill>
                  <a:srgbClr val="86BC25"/>
                </a:solidFill>
                <a:latin typeface="Calibri" panose="020F0502020204030204" pitchFamily="34" charset="0"/>
                <a:ea typeface="+mj-ea"/>
                <a:cs typeface="Calibri" panose="020F0502020204030204" pitchFamily="34" charset="0"/>
              </a:defRPr>
            </a:lvl1pPr>
            <a:lvl2pPr marL="0" indent="0" algn="l">
              <a:buNone/>
              <a:defRPr sz="1599" b="0">
                <a:solidFill>
                  <a:schemeClr val="bg1"/>
                </a:solidFill>
                <a:latin typeface="Calibri" panose="020F0502020204030204" pitchFamily="34" charset="0"/>
                <a:ea typeface="+mj-ea"/>
                <a:cs typeface="Calibri" panose="020F0502020204030204" pitchFamily="34" charset="0"/>
              </a:defRPr>
            </a:lvl2pPr>
            <a:lvl3pPr marL="1219179" indent="0" algn="ctr">
              <a:buNone/>
              <a:defRPr sz="2400"/>
            </a:lvl3pPr>
            <a:lvl4pPr marL="1828768" indent="0" algn="ctr">
              <a:buNone/>
              <a:defRPr sz="2132"/>
            </a:lvl4pPr>
            <a:lvl5pPr marL="2438358" indent="0" algn="ctr">
              <a:buNone/>
              <a:defRPr sz="2132"/>
            </a:lvl5pPr>
            <a:lvl6pPr marL="3047945" indent="0" algn="ctr">
              <a:buNone/>
              <a:defRPr sz="2132"/>
            </a:lvl6pPr>
            <a:lvl7pPr marL="3657535" indent="0" algn="ctr">
              <a:buNone/>
              <a:defRPr sz="2132"/>
            </a:lvl7pPr>
            <a:lvl8pPr marL="4267122" indent="0" algn="ctr">
              <a:buNone/>
              <a:defRPr sz="2132"/>
            </a:lvl8pPr>
            <a:lvl9pPr marL="4876714" indent="0" algn="ctr">
              <a:buNone/>
              <a:defRPr sz="2132"/>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232650" y="4383197"/>
            <a:ext cx="2738900" cy="205600"/>
          </a:xfrm>
          <a:prstGeom prst="rect">
            <a:avLst/>
          </a:prstGeom>
        </p:spPr>
        <p:txBody>
          <a:bodyPr/>
          <a:lstStyle>
            <a:lvl1pPr>
              <a:spcAft>
                <a:spcPts val="0"/>
              </a:spcAft>
              <a:defRPr sz="1052">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TW" altLang="en-US" noProof="0" smtClean="0"/>
              <a:t>編輯母片文字樣式</a:t>
            </a:r>
          </a:p>
        </p:txBody>
      </p:sp>
      <p:sp>
        <p:nvSpPr>
          <p:cNvPr id="33" name="Picture Placeholder 8"/>
          <p:cNvSpPr>
            <a:spLocks noGrp="1"/>
          </p:cNvSpPr>
          <p:nvPr>
            <p:ph type="pic" sz="quarter" idx="11"/>
          </p:nvPr>
        </p:nvSpPr>
        <p:spPr>
          <a:xfrm>
            <a:off x="1661507" y="501232"/>
            <a:ext cx="2643750" cy="3720000"/>
          </a:xfrm>
          <a:prstGeom prst="rect">
            <a:avLst/>
          </a:prstGeom>
        </p:spPr>
        <p:txBody>
          <a:bodyPr/>
          <a:lstStyle/>
          <a:p>
            <a:r>
              <a:rPr lang="zh-TW" altLang="en-US" noProof="0" smtClean="0"/>
              <a:t>按一下圖示以新增圖片</a:t>
            </a:r>
            <a:endParaRPr lang="en-US" noProof="0" dirty="0"/>
          </a:p>
        </p:txBody>
      </p:sp>
      <p:cxnSp>
        <p:nvCxnSpPr>
          <p:cNvPr id="32" name="直線接點 31"/>
          <p:cNvCxnSpPr/>
          <p:nvPr userDrawn="1"/>
        </p:nvCxnSpPr>
        <p:spPr>
          <a:xfrm>
            <a:off x="12203810" y="4339449"/>
            <a:ext cx="265807" cy="0"/>
          </a:xfrm>
          <a:prstGeom prst="line">
            <a:avLst/>
          </a:prstGeom>
          <a:ln/>
        </p:spPr>
        <p:style>
          <a:lnRef idx="1">
            <a:schemeClr val="dk1"/>
          </a:lnRef>
          <a:fillRef idx="0">
            <a:schemeClr val="dk1"/>
          </a:fillRef>
          <a:effectRef idx="0">
            <a:schemeClr val="dk1"/>
          </a:effectRef>
          <a:fontRef idx="minor">
            <a:schemeClr val="tx1"/>
          </a:fontRef>
        </p:style>
      </p:cxnSp>
      <p:sp>
        <p:nvSpPr>
          <p:cNvPr id="68" name="TextBox 21"/>
          <p:cNvSpPr txBox="1"/>
          <p:nvPr userDrawn="1"/>
        </p:nvSpPr>
        <p:spPr>
          <a:xfrm>
            <a:off x="-808919" y="4592996"/>
            <a:ext cx="747431" cy="431400"/>
          </a:xfrm>
          <a:prstGeom prst="rect">
            <a:avLst/>
          </a:prstGeom>
          <a:noFill/>
          <a:ln>
            <a:noFill/>
          </a:ln>
        </p:spPr>
        <p:txBody>
          <a:bodyPr wrap="square" lIns="0" tIns="0" rIns="0" bIns="0" rtlCol="0">
            <a:spAutoFit/>
          </a:bodyPr>
          <a:lstStyle/>
          <a:p>
            <a:pPr algn="r">
              <a:spcAft>
                <a:spcPts val="270"/>
              </a:spcAft>
            </a:pPr>
            <a:r>
              <a:rPr lang="en-US" sz="701" baseline="0" noProof="0" dirty="0" smtClean="0">
                <a:ln>
                  <a:noFill/>
                </a:ln>
                <a:solidFill>
                  <a:schemeClr val="bg1">
                    <a:lumMod val="65000"/>
                  </a:schemeClr>
                </a:solidFill>
              </a:rPr>
              <a:t>Grey markers</a:t>
            </a:r>
            <a:r>
              <a:rPr lang="en-US" sz="701" dirty="0" smtClean="0">
                <a:ln>
                  <a:noFill/>
                </a:ln>
                <a:solidFill>
                  <a:schemeClr val="bg1">
                    <a:lumMod val="65000"/>
                  </a:schemeClr>
                </a:solidFill>
              </a:rPr>
              <a:t> indicate position of Deloitte Drawing Guides</a:t>
            </a:r>
            <a:endParaRPr lang="en-US" sz="701" baseline="0" noProof="0" dirty="0" smtClean="0">
              <a:ln>
                <a:noFill/>
              </a:ln>
              <a:solidFill>
                <a:schemeClr val="bg1">
                  <a:lumMod val="65000"/>
                </a:schemeClr>
              </a:solidFill>
            </a:endParaRPr>
          </a:p>
        </p:txBody>
      </p:sp>
      <p:cxnSp>
        <p:nvCxnSpPr>
          <p:cNvPr id="69" name="Straight Arrow Connector 12"/>
          <p:cNvCxnSpPr/>
          <p:nvPr userDrawn="1"/>
        </p:nvCxnSpPr>
        <p:spPr>
          <a:xfrm>
            <a:off x="-381894" y="4462068"/>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0" name="Straight Arrow Connector 12"/>
          <p:cNvCxnSpPr/>
          <p:nvPr userDrawn="1"/>
        </p:nvCxnSpPr>
        <p:spPr>
          <a:xfrm>
            <a:off x="-392411"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1" name="Straight Arrow Connector 12"/>
          <p:cNvCxnSpPr/>
          <p:nvPr userDrawn="1"/>
        </p:nvCxnSpPr>
        <p:spPr>
          <a:xfrm>
            <a:off x="6015633"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2" name="Straight Arrow Connector 12"/>
          <p:cNvCxnSpPr/>
          <p:nvPr userDrawn="1"/>
        </p:nvCxnSpPr>
        <p:spPr>
          <a:xfrm>
            <a:off x="6015633" y="4463033"/>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3" name="Straight Arrow Connector 14"/>
          <p:cNvCxnSpPr/>
          <p:nvPr userDrawn="1"/>
        </p:nvCxnSpPr>
        <p:spPr>
          <a:xfrm>
            <a:off x="5738945"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4" name="Straight Arrow Connector 14"/>
          <p:cNvCxnSpPr/>
          <p:nvPr userDrawn="1"/>
        </p:nvCxnSpPr>
        <p:spPr>
          <a:xfrm>
            <a:off x="226418" y="-29095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5" name="Straight Arrow Connector 14"/>
          <p:cNvCxnSpPr/>
          <p:nvPr userDrawn="1"/>
        </p:nvCxnSpPr>
        <p:spPr>
          <a:xfrm>
            <a:off x="5738945" y="-320178"/>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86" name="Straight Arrow Connector 14"/>
          <p:cNvCxnSpPr/>
          <p:nvPr userDrawn="1"/>
        </p:nvCxnSpPr>
        <p:spPr>
          <a:xfrm>
            <a:off x="226418"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grpSp>
        <p:nvGrpSpPr>
          <p:cNvPr id="50" name="群組 49"/>
          <p:cNvGrpSpPr>
            <a:grpSpLocks noChangeAspect="1"/>
          </p:cNvGrpSpPr>
          <p:nvPr userDrawn="1"/>
        </p:nvGrpSpPr>
        <p:grpSpPr>
          <a:xfrm>
            <a:off x="4815222" y="203084"/>
            <a:ext cx="923723" cy="216000"/>
            <a:chOff x="463716" y="867128"/>
            <a:chExt cx="1277166" cy="298647"/>
          </a:xfrm>
        </p:grpSpPr>
        <p:sp>
          <p:nvSpPr>
            <p:cNvPr id="51" name="Freeform 6"/>
            <p:cNvSpPr>
              <a:spLocks noEditPoints="1"/>
            </p:cNvSpPr>
            <p:nvPr/>
          </p:nvSpPr>
          <p:spPr bwMode="auto">
            <a:xfrm>
              <a:off x="463716" y="867128"/>
              <a:ext cx="287471" cy="296163"/>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dirty="0"/>
            </a:p>
          </p:txBody>
        </p:sp>
        <p:sp>
          <p:nvSpPr>
            <p:cNvPr id="52" name="Freeform 11"/>
            <p:cNvSpPr>
              <a:spLocks noEditPoints="1"/>
            </p:cNvSpPr>
            <p:nvPr/>
          </p:nvSpPr>
          <p:spPr bwMode="auto">
            <a:xfrm>
              <a:off x="790303" y="867128"/>
              <a:ext cx="297405" cy="298026"/>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53" name="Freeform 15"/>
            <p:cNvSpPr>
              <a:spLocks/>
            </p:cNvSpPr>
            <p:nvPr/>
          </p:nvSpPr>
          <p:spPr bwMode="auto">
            <a:xfrm>
              <a:off x="1119373" y="978267"/>
              <a:ext cx="283125" cy="187508"/>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4" name="Freeform 16"/>
            <p:cNvSpPr>
              <a:spLocks/>
            </p:cNvSpPr>
            <p:nvPr/>
          </p:nvSpPr>
          <p:spPr bwMode="auto">
            <a:xfrm>
              <a:off x="1286392" y="1022971"/>
              <a:ext cx="127903" cy="132249"/>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55" name="Freeform 18"/>
            <p:cNvSpPr>
              <a:spLocks noEditPoints="1"/>
            </p:cNvSpPr>
            <p:nvPr/>
          </p:nvSpPr>
          <p:spPr bwMode="auto">
            <a:xfrm>
              <a:off x="1134274" y="878925"/>
              <a:ext cx="263257" cy="93754"/>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56" name="Freeform 23"/>
            <p:cNvSpPr>
              <a:spLocks/>
            </p:cNvSpPr>
            <p:nvPr/>
          </p:nvSpPr>
          <p:spPr bwMode="auto">
            <a:xfrm>
              <a:off x="1547165" y="883271"/>
              <a:ext cx="177574" cy="26077"/>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57" name="Freeform 25"/>
            <p:cNvSpPr>
              <a:spLocks/>
            </p:cNvSpPr>
            <p:nvPr/>
          </p:nvSpPr>
          <p:spPr bwMode="auto">
            <a:xfrm>
              <a:off x="1534747" y="932321"/>
              <a:ext cx="206135" cy="29182"/>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58" name="Freeform 27"/>
            <p:cNvSpPr>
              <a:spLocks/>
            </p:cNvSpPr>
            <p:nvPr/>
          </p:nvSpPr>
          <p:spPr bwMode="auto">
            <a:xfrm>
              <a:off x="1444098" y="870232"/>
              <a:ext cx="91270" cy="294300"/>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59" name="Freeform 30"/>
            <p:cNvSpPr>
              <a:spLocks/>
            </p:cNvSpPr>
            <p:nvPr/>
          </p:nvSpPr>
          <p:spPr bwMode="auto">
            <a:xfrm>
              <a:off x="1544681" y="980751"/>
              <a:ext cx="182541" cy="26077"/>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60" name="Freeform 31"/>
            <p:cNvSpPr>
              <a:spLocks/>
            </p:cNvSpPr>
            <p:nvPr/>
          </p:nvSpPr>
          <p:spPr bwMode="auto">
            <a:xfrm>
              <a:off x="1544681" y="1025454"/>
              <a:ext cx="182541" cy="26698"/>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61" name="Freeform 33"/>
            <p:cNvSpPr>
              <a:spLocks noEditPoints="1"/>
            </p:cNvSpPr>
            <p:nvPr/>
          </p:nvSpPr>
          <p:spPr bwMode="auto">
            <a:xfrm>
              <a:off x="1547165" y="1072021"/>
              <a:ext cx="177574" cy="88787"/>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grpSp>
      <p:grpSp>
        <p:nvGrpSpPr>
          <p:cNvPr id="62" name="群組 61"/>
          <p:cNvGrpSpPr>
            <a:grpSpLocks noChangeAspect="1"/>
          </p:cNvGrpSpPr>
          <p:nvPr userDrawn="1"/>
        </p:nvGrpSpPr>
        <p:grpSpPr>
          <a:xfrm>
            <a:off x="214560" y="197323"/>
            <a:ext cx="1155976" cy="216000"/>
            <a:chOff x="462474" y="460447"/>
            <a:chExt cx="1624863" cy="303614"/>
          </a:xfrm>
        </p:grpSpPr>
        <p:sp>
          <p:nvSpPr>
            <p:cNvPr id="63" name="Freeform 36"/>
            <p:cNvSpPr>
              <a:spLocks/>
            </p:cNvSpPr>
            <p:nvPr/>
          </p:nvSpPr>
          <p:spPr bwMode="auto">
            <a:xfrm>
              <a:off x="2002275" y="677137"/>
              <a:ext cx="85062" cy="86924"/>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64" name="Freeform 38"/>
            <p:cNvSpPr>
              <a:spLocks noEditPoints="1"/>
            </p:cNvSpPr>
            <p:nvPr/>
          </p:nvSpPr>
          <p:spPr bwMode="auto">
            <a:xfrm>
              <a:off x="462474" y="461689"/>
              <a:ext cx="246492" cy="297405"/>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65" name="Rectangle 41"/>
            <p:cNvSpPr>
              <a:spLocks noChangeArrowheads="1"/>
            </p:cNvSpPr>
            <p:nvPr/>
          </p:nvSpPr>
          <p:spPr bwMode="auto">
            <a:xfrm>
              <a:off x="969739" y="460447"/>
              <a:ext cx="75127" cy="298647"/>
            </a:xfrm>
            <a:prstGeom prst="rect">
              <a:avLst/>
            </a:prstGeom>
            <a:solidFill>
              <a:schemeClr val="bg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66" name="Freeform 42"/>
            <p:cNvSpPr>
              <a:spLocks noEditPoints="1"/>
            </p:cNvSpPr>
            <p:nvPr/>
          </p:nvSpPr>
          <p:spPr bwMode="auto">
            <a:xfrm>
              <a:off x="1074048" y="533091"/>
              <a:ext cx="216069" cy="23034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67" name="Rectangle 45"/>
            <p:cNvSpPr>
              <a:spLocks noChangeArrowheads="1"/>
            </p:cNvSpPr>
            <p:nvPr/>
          </p:nvSpPr>
          <p:spPr bwMode="auto">
            <a:xfrm>
              <a:off x="1319920" y="536816"/>
              <a:ext cx="75127" cy="222277"/>
            </a:xfrm>
            <a:prstGeom prst="rect">
              <a:avLst/>
            </a:prstGeom>
            <a:solidFill>
              <a:schemeClr val="bg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76" name="Rectangle 46"/>
            <p:cNvSpPr>
              <a:spLocks noChangeArrowheads="1"/>
            </p:cNvSpPr>
            <p:nvPr/>
          </p:nvSpPr>
          <p:spPr bwMode="auto">
            <a:xfrm>
              <a:off x="1319920" y="460447"/>
              <a:ext cx="75127" cy="49671"/>
            </a:xfrm>
            <a:prstGeom prst="rect">
              <a:avLst/>
            </a:prstGeom>
            <a:solidFill>
              <a:schemeClr val="bg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77" name="Freeform 47"/>
            <p:cNvSpPr>
              <a:spLocks/>
            </p:cNvSpPr>
            <p:nvPr/>
          </p:nvSpPr>
          <p:spPr bwMode="auto">
            <a:xfrm>
              <a:off x="1424850" y="467277"/>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78" name="Freeform 49"/>
            <p:cNvSpPr>
              <a:spLocks/>
            </p:cNvSpPr>
            <p:nvPr/>
          </p:nvSpPr>
          <p:spPr bwMode="auto">
            <a:xfrm>
              <a:off x="1598078" y="467277"/>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79" name="Freeform 51"/>
            <p:cNvSpPr>
              <a:spLocks noEditPoints="1"/>
            </p:cNvSpPr>
            <p:nvPr/>
          </p:nvSpPr>
          <p:spPr bwMode="auto">
            <a:xfrm>
              <a:off x="1773168" y="533091"/>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80" name="Freeform 54"/>
            <p:cNvSpPr>
              <a:spLocks noEditPoints="1"/>
            </p:cNvSpPr>
            <p:nvPr/>
          </p:nvSpPr>
          <p:spPr bwMode="auto">
            <a:xfrm>
              <a:off x="731318" y="533091"/>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89634285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80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分隔頁_Deloitt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230059" y="1171263"/>
            <a:ext cx="5100593" cy="1096989"/>
          </a:xfrm>
        </p:spPr>
        <p:txBody>
          <a:bodyPr anchor="b"/>
          <a:lstStyle>
            <a:lvl1pPr>
              <a:lnSpc>
                <a:spcPct val="95000"/>
              </a:lnSpc>
              <a:defRPr sz="3701" b="1">
                <a:solidFill>
                  <a:schemeClr val="bg1"/>
                </a:solidFill>
                <a:latin typeface="Calibri" panose="020F0502020204030204" pitchFamily="34" charset="0"/>
                <a:ea typeface="微軟正黑體" panose="020B0604030504040204" pitchFamily="34" charset="-120"/>
                <a:cs typeface="Calibri" panose="020F0502020204030204" pitchFamily="34" charset="0"/>
              </a:defRPr>
            </a:lvl1pPr>
          </a:lstStyle>
          <a:p>
            <a:r>
              <a:rPr lang="zh-TW" altLang="en-US" noProof="0" smtClean="0"/>
              <a:t>按一下以編輯母片標題樣式</a:t>
            </a:r>
            <a:endParaRPr lang="en-US" noProof="0" dirty="0"/>
          </a:p>
        </p:txBody>
      </p:sp>
      <p:sp>
        <p:nvSpPr>
          <p:cNvPr id="3" name="Text Placeholder 2"/>
          <p:cNvSpPr>
            <a:spLocks noGrp="1"/>
          </p:cNvSpPr>
          <p:nvPr>
            <p:ph type="body" idx="1"/>
          </p:nvPr>
        </p:nvSpPr>
        <p:spPr bwMode="gray">
          <a:xfrm>
            <a:off x="230056" y="2358442"/>
            <a:ext cx="5100594" cy="1079166"/>
          </a:xfrm>
        </p:spPr>
        <p:txBody>
          <a:bodyPr lIns="0" tIns="0" rIns="0" bIns="0">
            <a:noAutofit/>
          </a:bodyPr>
          <a:lstStyle>
            <a:lvl1pPr marL="0" indent="0">
              <a:lnSpc>
                <a:spcPct val="95000"/>
              </a:lnSpc>
              <a:spcAft>
                <a:spcPts val="0"/>
              </a:spcAft>
              <a:buNone/>
              <a:defRPr sz="3701">
                <a:solidFill>
                  <a:schemeClr val="bg1"/>
                </a:solidFill>
                <a:latin typeface="Calibri" panose="020F0502020204030204" pitchFamily="34" charset="0"/>
                <a:cs typeface="Calibri" panose="020F0502020204030204" pitchFamily="34" charset="0"/>
              </a:defRPr>
            </a:lvl1pPr>
            <a:lvl2pPr marL="609589" indent="0">
              <a:buNone/>
              <a:defRPr sz="2668">
                <a:solidFill>
                  <a:schemeClr val="tx1">
                    <a:tint val="75000"/>
                  </a:schemeClr>
                </a:solidFill>
              </a:defRPr>
            </a:lvl2pPr>
            <a:lvl3pPr marL="1219179" indent="0">
              <a:buNone/>
              <a:defRPr sz="2400">
                <a:solidFill>
                  <a:schemeClr val="tx1">
                    <a:tint val="75000"/>
                  </a:schemeClr>
                </a:solidFill>
              </a:defRPr>
            </a:lvl3pPr>
            <a:lvl4pPr marL="1828768" indent="0">
              <a:buNone/>
              <a:defRPr sz="2132">
                <a:solidFill>
                  <a:schemeClr val="tx1">
                    <a:tint val="75000"/>
                  </a:schemeClr>
                </a:solidFill>
              </a:defRPr>
            </a:lvl4pPr>
            <a:lvl5pPr marL="2438358" indent="0">
              <a:buNone/>
              <a:defRPr sz="2132">
                <a:solidFill>
                  <a:schemeClr val="tx1">
                    <a:tint val="75000"/>
                  </a:schemeClr>
                </a:solidFill>
              </a:defRPr>
            </a:lvl5pPr>
            <a:lvl6pPr marL="3047945" indent="0">
              <a:buNone/>
              <a:defRPr sz="2132">
                <a:solidFill>
                  <a:schemeClr val="tx1">
                    <a:tint val="75000"/>
                  </a:schemeClr>
                </a:solidFill>
              </a:defRPr>
            </a:lvl6pPr>
            <a:lvl7pPr marL="3657535" indent="0">
              <a:buNone/>
              <a:defRPr sz="2132">
                <a:solidFill>
                  <a:schemeClr val="tx1">
                    <a:tint val="75000"/>
                  </a:schemeClr>
                </a:solidFill>
              </a:defRPr>
            </a:lvl7pPr>
            <a:lvl8pPr marL="4267122" indent="0">
              <a:buNone/>
              <a:defRPr sz="2132">
                <a:solidFill>
                  <a:schemeClr val="tx1">
                    <a:tint val="75000"/>
                  </a:schemeClr>
                </a:solidFill>
              </a:defRPr>
            </a:lvl8pPr>
            <a:lvl9pPr marL="4876714" indent="0">
              <a:buNone/>
              <a:defRPr sz="2132">
                <a:solidFill>
                  <a:schemeClr val="tx1">
                    <a:tint val="75000"/>
                  </a:schemeClr>
                </a:solidFill>
              </a:defRPr>
            </a:lvl9pPr>
          </a:lstStyle>
          <a:p>
            <a:pPr lvl="0"/>
            <a:r>
              <a:rPr lang="zh-TW" altLang="en-US" noProof="0" smtClean="0"/>
              <a:t>編輯母片文字樣式</a:t>
            </a:r>
          </a:p>
        </p:txBody>
      </p:sp>
      <p:sp>
        <p:nvSpPr>
          <p:cNvPr id="13" name="TextBox 12"/>
          <p:cNvSpPr txBox="1"/>
          <p:nvPr userDrawn="1"/>
        </p:nvSpPr>
        <p:spPr>
          <a:xfrm>
            <a:off x="230059" y="4461935"/>
            <a:ext cx="2621801" cy="100348"/>
          </a:xfrm>
          <a:prstGeom prst="rect">
            <a:avLst/>
          </a:prstGeom>
          <a:noFill/>
        </p:spPr>
        <p:txBody>
          <a:bodyPr wrap="square" lIns="0" tIns="0" rIns="0" bIns="0" rtlCol="0">
            <a:spAutoFit/>
          </a:bodyPr>
          <a:lstStyle/>
          <a:p>
            <a:pPr marL="0" indent="0">
              <a:spcBef>
                <a:spcPts val="601"/>
              </a:spcBef>
              <a:buSzPct val="100000"/>
              <a:buFont typeface="Arial"/>
              <a:buNone/>
            </a:pPr>
            <a:r>
              <a:rPr lang="zh-TW" altLang="en-US" sz="652" noProof="0" dirty="0" smtClean="0">
                <a:solidFill>
                  <a:schemeClr val="bg1"/>
                </a:solidFill>
                <a:latin typeface="微軟正黑體" panose="020B0604030504040204" pitchFamily="34" charset="-120"/>
                <a:ea typeface="微軟正黑體" panose="020B0604030504040204" pitchFamily="34" charset="-120"/>
              </a:rPr>
              <a:t>勤業眾信版權所有 保留一切權利</a:t>
            </a:r>
          </a:p>
        </p:txBody>
      </p:sp>
      <p:sp>
        <p:nvSpPr>
          <p:cNvPr id="14" name="TextBox 13"/>
          <p:cNvSpPr txBox="1"/>
          <p:nvPr userDrawn="1"/>
        </p:nvSpPr>
        <p:spPr>
          <a:xfrm>
            <a:off x="5588168" y="4461935"/>
            <a:ext cx="150779" cy="100348"/>
          </a:xfrm>
          <a:prstGeom prst="rect">
            <a:avLst/>
          </a:prstGeom>
          <a:noFill/>
        </p:spPr>
        <p:txBody>
          <a:bodyPr wrap="square" lIns="0" tIns="0" rIns="0" bIns="0" rtlCol="0">
            <a:spAutoFit/>
          </a:bodyPr>
          <a:lstStyle/>
          <a:p>
            <a:pPr marL="0" indent="0" algn="r">
              <a:spcBef>
                <a:spcPts val="801"/>
              </a:spcBef>
              <a:buSzPct val="100000"/>
              <a:buFont typeface="Arial"/>
              <a:buNone/>
            </a:pPr>
            <a:fld id="{C58DF478-B544-4ED8-9ED4-6A2648E2D233}" type="slidenum">
              <a:rPr lang="en-US" sz="652" noProof="0" smtClean="0">
                <a:solidFill>
                  <a:schemeClr val="bg1"/>
                </a:solidFill>
              </a:rPr>
              <a:pPr marL="0" indent="0" algn="r">
                <a:spcBef>
                  <a:spcPts val="801"/>
                </a:spcBef>
                <a:buSzPct val="100000"/>
                <a:buFont typeface="Arial"/>
                <a:buNone/>
              </a:pPr>
              <a:t>‹#›</a:t>
            </a:fld>
            <a:endParaRPr lang="en-US" sz="652" noProof="0" dirty="0">
              <a:solidFill>
                <a:schemeClr val="bg1"/>
              </a:solidFill>
            </a:endParaRPr>
          </a:p>
        </p:txBody>
      </p:sp>
      <p:sp>
        <p:nvSpPr>
          <p:cNvPr id="16" name="TextBox 21"/>
          <p:cNvSpPr txBox="1"/>
          <p:nvPr userDrawn="1"/>
        </p:nvSpPr>
        <p:spPr>
          <a:xfrm>
            <a:off x="-808919" y="4592996"/>
            <a:ext cx="747431" cy="431400"/>
          </a:xfrm>
          <a:prstGeom prst="rect">
            <a:avLst/>
          </a:prstGeom>
          <a:noFill/>
          <a:ln>
            <a:noFill/>
          </a:ln>
        </p:spPr>
        <p:txBody>
          <a:bodyPr wrap="square" lIns="0" tIns="0" rIns="0" bIns="0" rtlCol="0">
            <a:spAutoFit/>
          </a:bodyPr>
          <a:lstStyle/>
          <a:p>
            <a:pPr algn="r">
              <a:spcAft>
                <a:spcPts val="270"/>
              </a:spcAft>
            </a:pPr>
            <a:r>
              <a:rPr lang="en-US" sz="701" baseline="0" noProof="0" dirty="0" smtClean="0">
                <a:ln>
                  <a:noFill/>
                </a:ln>
                <a:solidFill>
                  <a:schemeClr val="bg1">
                    <a:lumMod val="65000"/>
                  </a:schemeClr>
                </a:solidFill>
              </a:rPr>
              <a:t>Grey markers</a:t>
            </a:r>
            <a:r>
              <a:rPr lang="en-US" sz="701" dirty="0" smtClean="0">
                <a:ln>
                  <a:noFill/>
                </a:ln>
                <a:solidFill>
                  <a:schemeClr val="bg1">
                    <a:lumMod val="65000"/>
                  </a:schemeClr>
                </a:solidFill>
              </a:rPr>
              <a:t> indicate position of Deloitte Drawing Guides</a:t>
            </a:r>
            <a:endParaRPr lang="en-US" sz="701" baseline="0" noProof="0" dirty="0" smtClean="0">
              <a:ln>
                <a:noFill/>
              </a:ln>
              <a:solidFill>
                <a:schemeClr val="bg1">
                  <a:lumMod val="65000"/>
                </a:schemeClr>
              </a:solidFill>
            </a:endParaRPr>
          </a:p>
        </p:txBody>
      </p:sp>
      <p:cxnSp>
        <p:nvCxnSpPr>
          <p:cNvPr id="17" name="Straight Arrow Connector 12"/>
          <p:cNvCxnSpPr/>
          <p:nvPr userDrawn="1"/>
        </p:nvCxnSpPr>
        <p:spPr>
          <a:xfrm>
            <a:off x="-381894" y="4462068"/>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8" name="Straight Arrow Connector 12"/>
          <p:cNvCxnSpPr/>
          <p:nvPr userDrawn="1"/>
        </p:nvCxnSpPr>
        <p:spPr>
          <a:xfrm>
            <a:off x="-392411"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9" name="Straight Arrow Connector 12"/>
          <p:cNvCxnSpPr/>
          <p:nvPr userDrawn="1"/>
        </p:nvCxnSpPr>
        <p:spPr>
          <a:xfrm>
            <a:off x="6015633"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0" name="Straight Arrow Connector 12"/>
          <p:cNvCxnSpPr/>
          <p:nvPr userDrawn="1"/>
        </p:nvCxnSpPr>
        <p:spPr>
          <a:xfrm>
            <a:off x="6015633" y="4463033"/>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1" name="Straight Arrow Connector 14"/>
          <p:cNvCxnSpPr/>
          <p:nvPr userDrawn="1"/>
        </p:nvCxnSpPr>
        <p:spPr>
          <a:xfrm>
            <a:off x="5738945"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2" name="Straight Arrow Connector 14"/>
          <p:cNvCxnSpPr/>
          <p:nvPr userDrawn="1"/>
        </p:nvCxnSpPr>
        <p:spPr>
          <a:xfrm>
            <a:off x="226418" y="-29095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3" name="Straight Arrow Connector 14"/>
          <p:cNvCxnSpPr/>
          <p:nvPr userDrawn="1"/>
        </p:nvCxnSpPr>
        <p:spPr>
          <a:xfrm>
            <a:off x="5738945" y="-320178"/>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4" name="Straight Arrow Connector 14"/>
          <p:cNvCxnSpPr/>
          <p:nvPr userDrawn="1"/>
        </p:nvCxnSpPr>
        <p:spPr>
          <a:xfrm>
            <a:off x="226418"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10457412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1488"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分隔頁_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230059" y="1175021"/>
            <a:ext cx="5100593" cy="1096989"/>
          </a:xfrm>
        </p:spPr>
        <p:txBody>
          <a:bodyPr anchor="b"/>
          <a:lstStyle>
            <a:lvl1pPr>
              <a:lnSpc>
                <a:spcPct val="95000"/>
              </a:lnSpc>
              <a:defRPr sz="3701" b="1">
                <a:solidFill>
                  <a:schemeClr val="bg1"/>
                </a:solidFill>
                <a:latin typeface="Calibri" panose="020F0502020204030204" pitchFamily="34" charset="0"/>
                <a:ea typeface="微軟正黑體" panose="020B0604030504040204" pitchFamily="34" charset="-120"/>
                <a:cs typeface="Calibri" panose="020F0502020204030204" pitchFamily="34" charset="0"/>
              </a:defRPr>
            </a:lvl1pPr>
          </a:lstStyle>
          <a:p>
            <a:r>
              <a:rPr lang="zh-TW" altLang="en-US" noProof="0" smtClean="0"/>
              <a:t>按一下以編輯母片標題樣式</a:t>
            </a:r>
            <a:endParaRPr lang="en-US" noProof="0" dirty="0"/>
          </a:p>
        </p:txBody>
      </p:sp>
      <p:sp>
        <p:nvSpPr>
          <p:cNvPr id="19" name="Text Placeholder 2"/>
          <p:cNvSpPr>
            <a:spLocks noGrp="1"/>
          </p:cNvSpPr>
          <p:nvPr>
            <p:ph type="body" idx="1"/>
          </p:nvPr>
        </p:nvSpPr>
        <p:spPr bwMode="gray">
          <a:xfrm>
            <a:off x="230059" y="2362200"/>
            <a:ext cx="5100593" cy="1079166"/>
          </a:xfrm>
        </p:spPr>
        <p:txBody>
          <a:bodyPr lIns="0" tIns="0" rIns="0" bIns="0">
            <a:noAutofit/>
          </a:bodyPr>
          <a:lstStyle>
            <a:lvl1pPr marL="0" indent="0">
              <a:lnSpc>
                <a:spcPct val="95000"/>
              </a:lnSpc>
              <a:spcAft>
                <a:spcPts val="0"/>
              </a:spcAft>
              <a:buNone/>
              <a:defRPr sz="3701">
                <a:solidFill>
                  <a:schemeClr val="bg1"/>
                </a:solidFill>
                <a:latin typeface="Calibri" panose="020F0502020204030204" pitchFamily="34" charset="0"/>
                <a:cs typeface="Calibri" panose="020F0502020204030204" pitchFamily="34" charset="0"/>
              </a:defRPr>
            </a:lvl1pPr>
            <a:lvl2pPr marL="609589" indent="0">
              <a:buNone/>
              <a:defRPr sz="2668">
                <a:solidFill>
                  <a:schemeClr val="tx1">
                    <a:tint val="75000"/>
                  </a:schemeClr>
                </a:solidFill>
              </a:defRPr>
            </a:lvl2pPr>
            <a:lvl3pPr marL="1219179" indent="0">
              <a:buNone/>
              <a:defRPr sz="2400">
                <a:solidFill>
                  <a:schemeClr val="tx1">
                    <a:tint val="75000"/>
                  </a:schemeClr>
                </a:solidFill>
              </a:defRPr>
            </a:lvl3pPr>
            <a:lvl4pPr marL="1828768" indent="0">
              <a:buNone/>
              <a:defRPr sz="2132">
                <a:solidFill>
                  <a:schemeClr val="tx1">
                    <a:tint val="75000"/>
                  </a:schemeClr>
                </a:solidFill>
              </a:defRPr>
            </a:lvl4pPr>
            <a:lvl5pPr marL="2438358" indent="0">
              <a:buNone/>
              <a:defRPr sz="2132">
                <a:solidFill>
                  <a:schemeClr val="tx1">
                    <a:tint val="75000"/>
                  </a:schemeClr>
                </a:solidFill>
              </a:defRPr>
            </a:lvl5pPr>
            <a:lvl6pPr marL="3047945" indent="0">
              <a:buNone/>
              <a:defRPr sz="2132">
                <a:solidFill>
                  <a:schemeClr val="tx1">
                    <a:tint val="75000"/>
                  </a:schemeClr>
                </a:solidFill>
              </a:defRPr>
            </a:lvl6pPr>
            <a:lvl7pPr marL="3657535" indent="0">
              <a:buNone/>
              <a:defRPr sz="2132">
                <a:solidFill>
                  <a:schemeClr val="tx1">
                    <a:tint val="75000"/>
                  </a:schemeClr>
                </a:solidFill>
              </a:defRPr>
            </a:lvl7pPr>
            <a:lvl8pPr marL="4267122" indent="0">
              <a:buNone/>
              <a:defRPr sz="2132">
                <a:solidFill>
                  <a:schemeClr val="tx1">
                    <a:tint val="75000"/>
                  </a:schemeClr>
                </a:solidFill>
              </a:defRPr>
            </a:lvl8pPr>
            <a:lvl9pPr marL="4876714" indent="0">
              <a:buNone/>
              <a:defRPr sz="2132">
                <a:solidFill>
                  <a:schemeClr val="tx1">
                    <a:tint val="75000"/>
                  </a:schemeClr>
                </a:solidFill>
              </a:defRPr>
            </a:lvl9pPr>
          </a:lstStyle>
          <a:p>
            <a:pPr lvl="0"/>
            <a:r>
              <a:rPr lang="zh-TW" altLang="en-US" noProof="0" smtClean="0"/>
              <a:t>編輯母片文字樣式</a:t>
            </a:r>
          </a:p>
        </p:txBody>
      </p:sp>
      <p:sp>
        <p:nvSpPr>
          <p:cNvPr id="21" name="TextBox 20"/>
          <p:cNvSpPr txBox="1"/>
          <p:nvPr userDrawn="1"/>
        </p:nvSpPr>
        <p:spPr>
          <a:xfrm>
            <a:off x="230059" y="4461935"/>
            <a:ext cx="2621801" cy="100348"/>
          </a:xfrm>
          <a:prstGeom prst="rect">
            <a:avLst/>
          </a:prstGeom>
          <a:noFill/>
        </p:spPr>
        <p:txBody>
          <a:bodyPr wrap="square" lIns="0" tIns="0" rIns="0" bIns="0" rtlCol="0">
            <a:spAutoFit/>
          </a:bodyPr>
          <a:lstStyle/>
          <a:p>
            <a:pPr marL="0" indent="0">
              <a:spcBef>
                <a:spcPts val="601"/>
              </a:spcBef>
              <a:buSzPct val="100000"/>
              <a:buFont typeface="Arial"/>
              <a:buNone/>
            </a:pPr>
            <a:r>
              <a:rPr lang="zh-TW" altLang="en-US" sz="652" noProof="0" dirty="0" smtClean="0">
                <a:solidFill>
                  <a:schemeClr val="bg1"/>
                </a:solidFill>
                <a:latin typeface="微軟正黑體" panose="020B0604030504040204" pitchFamily="34" charset="-120"/>
                <a:ea typeface="微軟正黑體" panose="020B0604030504040204" pitchFamily="34" charset="-120"/>
              </a:rPr>
              <a:t>勤業眾信版權所有 保留一切權利</a:t>
            </a:r>
          </a:p>
        </p:txBody>
      </p:sp>
      <p:sp>
        <p:nvSpPr>
          <p:cNvPr id="22" name="TextBox 21"/>
          <p:cNvSpPr txBox="1"/>
          <p:nvPr userDrawn="1"/>
        </p:nvSpPr>
        <p:spPr>
          <a:xfrm>
            <a:off x="5588168" y="4461935"/>
            <a:ext cx="150779" cy="100348"/>
          </a:xfrm>
          <a:prstGeom prst="rect">
            <a:avLst/>
          </a:prstGeom>
          <a:noFill/>
        </p:spPr>
        <p:txBody>
          <a:bodyPr wrap="square" lIns="0" tIns="0" rIns="0" bIns="0" rtlCol="0">
            <a:spAutoFit/>
          </a:bodyPr>
          <a:lstStyle/>
          <a:p>
            <a:pPr marL="0" indent="0" algn="r">
              <a:spcBef>
                <a:spcPts val="801"/>
              </a:spcBef>
              <a:buSzPct val="100000"/>
              <a:buFont typeface="Arial"/>
              <a:buNone/>
            </a:pPr>
            <a:fld id="{C58DF478-B544-4ED8-9ED4-6A2648E2D233}" type="slidenum">
              <a:rPr lang="en-US" sz="652" noProof="0" smtClean="0">
                <a:solidFill>
                  <a:schemeClr val="bg1"/>
                </a:solidFill>
              </a:rPr>
              <a:pPr marL="0" indent="0" algn="r">
                <a:spcBef>
                  <a:spcPts val="801"/>
                </a:spcBef>
                <a:buSzPct val="100000"/>
                <a:buFont typeface="Arial"/>
                <a:buNone/>
              </a:pPr>
              <a:t>‹#›</a:t>
            </a:fld>
            <a:endParaRPr lang="en-US" sz="652" noProof="0" dirty="0">
              <a:solidFill>
                <a:schemeClr val="bg1"/>
              </a:solidFill>
            </a:endParaRPr>
          </a:p>
        </p:txBody>
      </p:sp>
      <p:sp>
        <p:nvSpPr>
          <p:cNvPr id="14" name="TextBox 21"/>
          <p:cNvSpPr txBox="1"/>
          <p:nvPr userDrawn="1"/>
        </p:nvSpPr>
        <p:spPr>
          <a:xfrm>
            <a:off x="-808919" y="4592996"/>
            <a:ext cx="747431" cy="431400"/>
          </a:xfrm>
          <a:prstGeom prst="rect">
            <a:avLst/>
          </a:prstGeom>
          <a:noFill/>
          <a:ln>
            <a:noFill/>
          </a:ln>
        </p:spPr>
        <p:txBody>
          <a:bodyPr wrap="square" lIns="0" tIns="0" rIns="0" bIns="0" rtlCol="0">
            <a:spAutoFit/>
          </a:bodyPr>
          <a:lstStyle/>
          <a:p>
            <a:pPr algn="r">
              <a:spcAft>
                <a:spcPts val="270"/>
              </a:spcAft>
            </a:pPr>
            <a:r>
              <a:rPr lang="en-US" sz="701" baseline="0" noProof="0" dirty="0" smtClean="0">
                <a:ln>
                  <a:noFill/>
                </a:ln>
                <a:solidFill>
                  <a:schemeClr val="bg1">
                    <a:lumMod val="65000"/>
                  </a:schemeClr>
                </a:solidFill>
              </a:rPr>
              <a:t>Grey markers</a:t>
            </a:r>
            <a:r>
              <a:rPr lang="en-US" sz="701" dirty="0" smtClean="0">
                <a:ln>
                  <a:noFill/>
                </a:ln>
                <a:solidFill>
                  <a:schemeClr val="bg1">
                    <a:lumMod val="65000"/>
                  </a:schemeClr>
                </a:solidFill>
              </a:rPr>
              <a:t> indicate position of Deloitte Drawing Guides</a:t>
            </a:r>
            <a:endParaRPr lang="en-US" sz="701" baseline="0" noProof="0" dirty="0" smtClean="0">
              <a:ln>
                <a:noFill/>
              </a:ln>
              <a:solidFill>
                <a:schemeClr val="bg1">
                  <a:lumMod val="65000"/>
                </a:schemeClr>
              </a:solidFill>
            </a:endParaRPr>
          </a:p>
        </p:txBody>
      </p:sp>
      <p:cxnSp>
        <p:nvCxnSpPr>
          <p:cNvPr id="15" name="Straight Arrow Connector 12"/>
          <p:cNvCxnSpPr/>
          <p:nvPr userDrawn="1"/>
        </p:nvCxnSpPr>
        <p:spPr>
          <a:xfrm>
            <a:off x="-381894" y="4462068"/>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6" name="Straight Arrow Connector 12"/>
          <p:cNvCxnSpPr/>
          <p:nvPr userDrawn="1"/>
        </p:nvCxnSpPr>
        <p:spPr>
          <a:xfrm>
            <a:off x="-392411"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7" name="Straight Arrow Connector 12"/>
          <p:cNvCxnSpPr/>
          <p:nvPr userDrawn="1"/>
        </p:nvCxnSpPr>
        <p:spPr>
          <a:xfrm>
            <a:off x="6015633"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0" name="Straight Arrow Connector 12"/>
          <p:cNvCxnSpPr/>
          <p:nvPr userDrawn="1"/>
        </p:nvCxnSpPr>
        <p:spPr>
          <a:xfrm>
            <a:off x="6015633" y="4463033"/>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3" name="Straight Arrow Connector 14"/>
          <p:cNvCxnSpPr/>
          <p:nvPr userDrawn="1"/>
        </p:nvCxnSpPr>
        <p:spPr>
          <a:xfrm>
            <a:off x="5738945"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4" name="Straight Arrow Connector 14"/>
          <p:cNvCxnSpPr/>
          <p:nvPr userDrawn="1"/>
        </p:nvCxnSpPr>
        <p:spPr>
          <a:xfrm>
            <a:off x="226418" y="-29095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5" name="Straight Arrow Connector 14"/>
          <p:cNvCxnSpPr/>
          <p:nvPr userDrawn="1"/>
        </p:nvCxnSpPr>
        <p:spPr>
          <a:xfrm>
            <a:off x="5742054" y="-29095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6" name="Straight Arrow Connector 14"/>
          <p:cNvCxnSpPr/>
          <p:nvPr userDrawn="1"/>
        </p:nvCxnSpPr>
        <p:spPr>
          <a:xfrm>
            <a:off x="226418"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764826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1488"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分隔頁_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230059" y="1175021"/>
            <a:ext cx="5100593" cy="1096989"/>
          </a:xfrm>
        </p:spPr>
        <p:txBody>
          <a:bodyPr anchor="b"/>
          <a:lstStyle>
            <a:lvl1pPr>
              <a:lnSpc>
                <a:spcPct val="95000"/>
              </a:lnSpc>
              <a:defRPr sz="3701" b="1">
                <a:solidFill>
                  <a:schemeClr val="bg1"/>
                </a:solidFill>
                <a:latin typeface="Calibri" panose="020F0502020204030204" pitchFamily="34" charset="0"/>
                <a:ea typeface="微軟正黑體" panose="020B0604030504040204" pitchFamily="34" charset="-120"/>
                <a:cs typeface="Calibri" panose="020F0502020204030204" pitchFamily="34" charset="0"/>
              </a:defRPr>
            </a:lvl1pPr>
          </a:lstStyle>
          <a:p>
            <a:r>
              <a:rPr lang="zh-TW" altLang="en-US" noProof="0" smtClean="0"/>
              <a:t>按一下以編輯母片標題樣式</a:t>
            </a:r>
            <a:endParaRPr lang="en-US" noProof="0" dirty="0"/>
          </a:p>
        </p:txBody>
      </p:sp>
      <p:sp>
        <p:nvSpPr>
          <p:cNvPr id="3" name="Text Placeholder 2"/>
          <p:cNvSpPr>
            <a:spLocks noGrp="1"/>
          </p:cNvSpPr>
          <p:nvPr>
            <p:ph type="body" idx="1"/>
          </p:nvPr>
        </p:nvSpPr>
        <p:spPr bwMode="gray">
          <a:xfrm>
            <a:off x="230059" y="2362200"/>
            <a:ext cx="5100593" cy="1079166"/>
          </a:xfrm>
        </p:spPr>
        <p:txBody>
          <a:bodyPr lIns="0" tIns="0" rIns="0" bIns="0">
            <a:noAutofit/>
          </a:bodyPr>
          <a:lstStyle>
            <a:lvl1pPr marL="0" indent="0">
              <a:lnSpc>
                <a:spcPct val="95000"/>
              </a:lnSpc>
              <a:spcAft>
                <a:spcPts val="0"/>
              </a:spcAft>
              <a:buNone/>
              <a:defRPr sz="3701">
                <a:solidFill>
                  <a:schemeClr val="bg1"/>
                </a:solidFill>
                <a:latin typeface="Calibri" panose="020F0502020204030204" pitchFamily="34" charset="0"/>
                <a:cs typeface="Calibri" panose="020F0502020204030204" pitchFamily="34" charset="0"/>
              </a:defRPr>
            </a:lvl1pPr>
            <a:lvl2pPr marL="609589" indent="0">
              <a:buNone/>
              <a:defRPr sz="2668">
                <a:solidFill>
                  <a:schemeClr val="tx1">
                    <a:tint val="75000"/>
                  </a:schemeClr>
                </a:solidFill>
              </a:defRPr>
            </a:lvl2pPr>
            <a:lvl3pPr marL="1219179" indent="0">
              <a:buNone/>
              <a:defRPr sz="2400">
                <a:solidFill>
                  <a:schemeClr val="tx1">
                    <a:tint val="75000"/>
                  </a:schemeClr>
                </a:solidFill>
              </a:defRPr>
            </a:lvl3pPr>
            <a:lvl4pPr marL="1828768" indent="0">
              <a:buNone/>
              <a:defRPr sz="2132">
                <a:solidFill>
                  <a:schemeClr val="tx1">
                    <a:tint val="75000"/>
                  </a:schemeClr>
                </a:solidFill>
              </a:defRPr>
            </a:lvl4pPr>
            <a:lvl5pPr marL="2438358" indent="0">
              <a:buNone/>
              <a:defRPr sz="2132">
                <a:solidFill>
                  <a:schemeClr val="tx1">
                    <a:tint val="75000"/>
                  </a:schemeClr>
                </a:solidFill>
              </a:defRPr>
            </a:lvl5pPr>
            <a:lvl6pPr marL="3047945" indent="0">
              <a:buNone/>
              <a:defRPr sz="2132">
                <a:solidFill>
                  <a:schemeClr val="tx1">
                    <a:tint val="75000"/>
                  </a:schemeClr>
                </a:solidFill>
              </a:defRPr>
            </a:lvl6pPr>
            <a:lvl7pPr marL="3657535" indent="0">
              <a:buNone/>
              <a:defRPr sz="2132">
                <a:solidFill>
                  <a:schemeClr val="tx1">
                    <a:tint val="75000"/>
                  </a:schemeClr>
                </a:solidFill>
              </a:defRPr>
            </a:lvl7pPr>
            <a:lvl8pPr marL="4267122" indent="0">
              <a:buNone/>
              <a:defRPr sz="2132">
                <a:solidFill>
                  <a:schemeClr val="tx1">
                    <a:tint val="75000"/>
                  </a:schemeClr>
                </a:solidFill>
              </a:defRPr>
            </a:lvl8pPr>
            <a:lvl9pPr marL="4876714" indent="0">
              <a:buNone/>
              <a:defRPr sz="2132">
                <a:solidFill>
                  <a:schemeClr val="tx1">
                    <a:tint val="75000"/>
                  </a:schemeClr>
                </a:solidFill>
              </a:defRPr>
            </a:lvl9pPr>
          </a:lstStyle>
          <a:p>
            <a:pPr lvl="0"/>
            <a:r>
              <a:rPr lang="zh-TW" altLang="en-US" noProof="0" smtClean="0"/>
              <a:t>編輯母片文字樣式</a:t>
            </a:r>
          </a:p>
        </p:txBody>
      </p:sp>
      <p:sp>
        <p:nvSpPr>
          <p:cNvPr id="8" name="TextBox 7"/>
          <p:cNvSpPr txBox="1"/>
          <p:nvPr userDrawn="1"/>
        </p:nvSpPr>
        <p:spPr>
          <a:xfrm>
            <a:off x="230059" y="4461935"/>
            <a:ext cx="2621801" cy="100348"/>
          </a:xfrm>
          <a:prstGeom prst="rect">
            <a:avLst/>
          </a:prstGeom>
          <a:noFill/>
        </p:spPr>
        <p:txBody>
          <a:bodyPr wrap="square" lIns="0" tIns="0" rIns="0" bIns="0" rtlCol="0">
            <a:spAutoFit/>
          </a:bodyPr>
          <a:lstStyle/>
          <a:p>
            <a:pPr marL="0" indent="0">
              <a:spcBef>
                <a:spcPts val="601"/>
              </a:spcBef>
              <a:buSzPct val="100000"/>
              <a:buFont typeface="Arial"/>
              <a:buNone/>
            </a:pPr>
            <a:r>
              <a:rPr lang="zh-TW" altLang="en-US" sz="652" noProof="0" dirty="0" smtClean="0">
                <a:solidFill>
                  <a:schemeClr val="bg1"/>
                </a:solidFill>
                <a:latin typeface="微軟正黑體" panose="020B0604030504040204" pitchFamily="34" charset="-120"/>
                <a:ea typeface="微軟正黑體" panose="020B0604030504040204" pitchFamily="34" charset="-120"/>
              </a:rPr>
              <a:t>勤業眾信版權所有 保留一切權利</a:t>
            </a:r>
          </a:p>
        </p:txBody>
      </p:sp>
      <p:sp>
        <p:nvSpPr>
          <p:cNvPr id="9" name="TextBox 8"/>
          <p:cNvSpPr txBox="1"/>
          <p:nvPr userDrawn="1"/>
        </p:nvSpPr>
        <p:spPr>
          <a:xfrm>
            <a:off x="5588168" y="4461935"/>
            <a:ext cx="150779" cy="100348"/>
          </a:xfrm>
          <a:prstGeom prst="rect">
            <a:avLst/>
          </a:prstGeom>
          <a:noFill/>
        </p:spPr>
        <p:txBody>
          <a:bodyPr wrap="square" lIns="0" tIns="0" rIns="0" bIns="0" rtlCol="0">
            <a:spAutoFit/>
          </a:bodyPr>
          <a:lstStyle/>
          <a:p>
            <a:pPr marL="0" indent="0" algn="r">
              <a:spcBef>
                <a:spcPts val="801"/>
              </a:spcBef>
              <a:buSzPct val="100000"/>
              <a:buFont typeface="Arial"/>
              <a:buNone/>
            </a:pPr>
            <a:fld id="{C58DF478-B544-4ED8-9ED4-6A2648E2D233}" type="slidenum">
              <a:rPr lang="en-US" sz="652" noProof="0" smtClean="0">
                <a:solidFill>
                  <a:schemeClr val="bg1"/>
                </a:solidFill>
              </a:rPr>
              <a:pPr marL="0" indent="0" algn="r">
                <a:spcBef>
                  <a:spcPts val="801"/>
                </a:spcBef>
                <a:buSzPct val="100000"/>
                <a:buFont typeface="Arial"/>
                <a:buNone/>
              </a:pPr>
              <a:t>‹#›</a:t>
            </a:fld>
            <a:endParaRPr lang="en-US" sz="652" noProof="0" dirty="0">
              <a:solidFill>
                <a:schemeClr val="bg1"/>
              </a:solidFill>
            </a:endParaRPr>
          </a:p>
        </p:txBody>
      </p:sp>
      <p:sp>
        <p:nvSpPr>
          <p:cNvPr id="16" name="TextBox 21"/>
          <p:cNvSpPr txBox="1"/>
          <p:nvPr userDrawn="1"/>
        </p:nvSpPr>
        <p:spPr>
          <a:xfrm>
            <a:off x="-808919" y="4592996"/>
            <a:ext cx="747431" cy="431400"/>
          </a:xfrm>
          <a:prstGeom prst="rect">
            <a:avLst/>
          </a:prstGeom>
          <a:noFill/>
          <a:ln>
            <a:noFill/>
          </a:ln>
        </p:spPr>
        <p:txBody>
          <a:bodyPr wrap="square" lIns="0" tIns="0" rIns="0" bIns="0" rtlCol="0">
            <a:spAutoFit/>
          </a:bodyPr>
          <a:lstStyle/>
          <a:p>
            <a:pPr algn="r">
              <a:spcAft>
                <a:spcPts val="270"/>
              </a:spcAft>
            </a:pPr>
            <a:r>
              <a:rPr lang="en-US" sz="701" baseline="0" noProof="0" dirty="0" smtClean="0">
                <a:ln>
                  <a:noFill/>
                </a:ln>
                <a:solidFill>
                  <a:schemeClr val="bg1">
                    <a:lumMod val="65000"/>
                  </a:schemeClr>
                </a:solidFill>
              </a:rPr>
              <a:t>Grey markers</a:t>
            </a:r>
            <a:r>
              <a:rPr lang="en-US" sz="701" dirty="0" smtClean="0">
                <a:ln>
                  <a:noFill/>
                </a:ln>
                <a:solidFill>
                  <a:schemeClr val="bg1">
                    <a:lumMod val="65000"/>
                  </a:schemeClr>
                </a:solidFill>
              </a:rPr>
              <a:t> indicate position of Deloitte Drawing Guides</a:t>
            </a:r>
            <a:endParaRPr lang="en-US" sz="701" baseline="0" noProof="0" dirty="0" smtClean="0">
              <a:ln>
                <a:noFill/>
              </a:ln>
              <a:solidFill>
                <a:schemeClr val="bg1">
                  <a:lumMod val="65000"/>
                </a:schemeClr>
              </a:solidFill>
            </a:endParaRPr>
          </a:p>
        </p:txBody>
      </p:sp>
      <p:cxnSp>
        <p:nvCxnSpPr>
          <p:cNvPr id="17" name="Straight Arrow Connector 12"/>
          <p:cNvCxnSpPr/>
          <p:nvPr userDrawn="1"/>
        </p:nvCxnSpPr>
        <p:spPr>
          <a:xfrm>
            <a:off x="-381894" y="4462068"/>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8" name="Straight Arrow Connector 12"/>
          <p:cNvCxnSpPr/>
          <p:nvPr userDrawn="1"/>
        </p:nvCxnSpPr>
        <p:spPr>
          <a:xfrm>
            <a:off x="-392411"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9" name="Straight Arrow Connector 12"/>
          <p:cNvCxnSpPr/>
          <p:nvPr userDrawn="1"/>
        </p:nvCxnSpPr>
        <p:spPr>
          <a:xfrm>
            <a:off x="6015633"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0" name="Straight Arrow Connector 12"/>
          <p:cNvCxnSpPr/>
          <p:nvPr userDrawn="1"/>
        </p:nvCxnSpPr>
        <p:spPr>
          <a:xfrm>
            <a:off x="6015633" y="4463033"/>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1" name="Straight Arrow Connector 14"/>
          <p:cNvCxnSpPr/>
          <p:nvPr userDrawn="1"/>
        </p:nvCxnSpPr>
        <p:spPr>
          <a:xfrm>
            <a:off x="5738945"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2" name="Straight Arrow Connector 14"/>
          <p:cNvCxnSpPr/>
          <p:nvPr userDrawn="1"/>
        </p:nvCxnSpPr>
        <p:spPr>
          <a:xfrm>
            <a:off x="226418" y="-29095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3" name="Straight Arrow Connector 14"/>
          <p:cNvCxnSpPr/>
          <p:nvPr userDrawn="1"/>
        </p:nvCxnSpPr>
        <p:spPr>
          <a:xfrm>
            <a:off x="5738945" y="-320178"/>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4" name="Straight Arrow Connector 14"/>
          <p:cNvCxnSpPr/>
          <p:nvPr userDrawn="1"/>
        </p:nvCxnSpPr>
        <p:spPr>
          <a:xfrm>
            <a:off x="226418"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5402145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148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分隔頁_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230059" y="1175021"/>
            <a:ext cx="5100593" cy="1096989"/>
          </a:xfrm>
        </p:spPr>
        <p:txBody>
          <a:bodyPr anchor="b"/>
          <a:lstStyle>
            <a:lvl1pPr>
              <a:lnSpc>
                <a:spcPct val="95000"/>
              </a:lnSpc>
              <a:defRPr sz="3701" b="1">
                <a:solidFill>
                  <a:schemeClr val="bg1"/>
                </a:solidFill>
                <a:latin typeface="Calibri" panose="020F0502020204030204" pitchFamily="34" charset="0"/>
                <a:ea typeface="微軟正黑體" panose="020B0604030504040204" pitchFamily="34" charset="-120"/>
                <a:cs typeface="Calibri" panose="020F0502020204030204" pitchFamily="34" charset="0"/>
              </a:defRPr>
            </a:lvl1pPr>
          </a:lstStyle>
          <a:p>
            <a:r>
              <a:rPr lang="zh-TW" altLang="en-US" noProof="0" smtClean="0"/>
              <a:t>按一下以編輯母片標題樣式</a:t>
            </a:r>
            <a:endParaRPr lang="en-US" noProof="0" dirty="0"/>
          </a:p>
        </p:txBody>
      </p:sp>
      <p:sp>
        <p:nvSpPr>
          <p:cNvPr id="19" name="Text Placeholder 2"/>
          <p:cNvSpPr>
            <a:spLocks noGrp="1"/>
          </p:cNvSpPr>
          <p:nvPr>
            <p:ph type="body" idx="1"/>
          </p:nvPr>
        </p:nvSpPr>
        <p:spPr bwMode="gray">
          <a:xfrm>
            <a:off x="230059" y="2362200"/>
            <a:ext cx="5100593" cy="1079166"/>
          </a:xfrm>
        </p:spPr>
        <p:txBody>
          <a:bodyPr lIns="0" tIns="0" rIns="0" bIns="0">
            <a:noAutofit/>
          </a:bodyPr>
          <a:lstStyle>
            <a:lvl1pPr marL="0" indent="0">
              <a:lnSpc>
                <a:spcPct val="95000"/>
              </a:lnSpc>
              <a:spcAft>
                <a:spcPts val="0"/>
              </a:spcAft>
              <a:buNone/>
              <a:defRPr sz="3701">
                <a:solidFill>
                  <a:schemeClr val="bg1"/>
                </a:solidFill>
                <a:latin typeface="Calibri" panose="020F0502020204030204" pitchFamily="34" charset="0"/>
                <a:cs typeface="Calibri" panose="020F0502020204030204" pitchFamily="34" charset="0"/>
              </a:defRPr>
            </a:lvl1pPr>
            <a:lvl2pPr marL="609589" indent="0">
              <a:buNone/>
              <a:defRPr sz="2668">
                <a:solidFill>
                  <a:schemeClr val="tx1">
                    <a:tint val="75000"/>
                  </a:schemeClr>
                </a:solidFill>
              </a:defRPr>
            </a:lvl2pPr>
            <a:lvl3pPr marL="1219179" indent="0">
              <a:buNone/>
              <a:defRPr sz="2400">
                <a:solidFill>
                  <a:schemeClr val="tx1">
                    <a:tint val="75000"/>
                  </a:schemeClr>
                </a:solidFill>
              </a:defRPr>
            </a:lvl3pPr>
            <a:lvl4pPr marL="1828768" indent="0">
              <a:buNone/>
              <a:defRPr sz="2132">
                <a:solidFill>
                  <a:schemeClr val="tx1">
                    <a:tint val="75000"/>
                  </a:schemeClr>
                </a:solidFill>
              </a:defRPr>
            </a:lvl4pPr>
            <a:lvl5pPr marL="2438358" indent="0">
              <a:buNone/>
              <a:defRPr sz="2132">
                <a:solidFill>
                  <a:schemeClr val="tx1">
                    <a:tint val="75000"/>
                  </a:schemeClr>
                </a:solidFill>
              </a:defRPr>
            </a:lvl5pPr>
            <a:lvl6pPr marL="3047945" indent="0">
              <a:buNone/>
              <a:defRPr sz="2132">
                <a:solidFill>
                  <a:schemeClr val="tx1">
                    <a:tint val="75000"/>
                  </a:schemeClr>
                </a:solidFill>
              </a:defRPr>
            </a:lvl6pPr>
            <a:lvl7pPr marL="3657535" indent="0">
              <a:buNone/>
              <a:defRPr sz="2132">
                <a:solidFill>
                  <a:schemeClr val="tx1">
                    <a:tint val="75000"/>
                  </a:schemeClr>
                </a:solidFill>
              </a:defRPr>
            </a:lvl7pPr>
            <a:lvl8pPr marL="4267122" indent="0">
              <a:buNone/>
              <a:defRPr sz="2132">
                <a:solidFill>
                  <a:schemeClr val="tx1">
                    <a:tint val="75000"/>
                  </a:schemeClr>
                </a:solidFill>
              </a:defRPr>
            </a:lvl8pPr>
            <a:lvl9pPr marL="4876714" indent="0">
              <a:buNone/>
              <a:defRPr sz="2132">
                <a:solidFill>
                  <a:schemeClr val="tx1">
                    <a:tint val="75000"/>
                  </a:schemeClr>
                </a:solidFill>
              </a:defRPr>
            </a:lvl9pPr>
          </a:lstStyle>
          <a:p>
            <a:pPr lvl="0"/>
            <a:r>
              <a:rPr lang="zh-TW" altLang="en-US" noProof="0" smtClean="0"/>
              <a:t>編輯母片文字樣式</a:t>
            </a:r>
          </a:p>
        </p:txBody>
      </p:sp>
      <p:sp>
        <p:nvSpPr>
          <p:cNvPr id="21" name="TextBox 20"/>
          <p:cNvSpPr txBox="1"/>
          <p:nvPr userDrawn="1"/>
        </p:nvSpPr>
        <p:spPr>
          <a:xfrm>
            <a:off x="230059" y="4461935"/>
            <a:ext cx="2621801" cy="100348"/>
          </a:xfrm>
          <a:prstGeom prst="rect">
            <a:avLst/>
          </a:prstGeom>
          <a:noFill/>
        </p:spPr>
        <p:txBody>
          <a:bodyPr wrap="square" lIns="0" tIns="0" rIns="0" bIns="0" rtlCol="0">
            <a:spAutoFit/>
          </a:bodyPr>
          <a:lstStyle/>
          <a:p>
            <a:pPr marL="0" indent="0">
              <a:spcBef>
                <a:spcPts val="601"/>
              </a:spcBef>
              <a:buSzPct val="100000"/>
              <a:buFont typeface="Arial"/>
              <a:buNone/>
            </a:pPr>
            <a:r>
              <a:rPr lang="zh-TW" altLang="en-US" sz="652" noProof="0" dirty="0" smtClean="0">
                <a:solidFill>
                  <a:schemeClr val="bg1"/>
                </a:solidFill>
                <a:latin typeface="微軟正黑體" panose="020B0604030504040204" pitchFamily="34" charset="-120"/>
                <a:ea typeface="微軟正黑體" panose="020B0604030504040204" pitchFamily="34" charset="-120"/>
              </a:rPr>
              <a:t>勤業眾信版權所有 保留一切權利</a:t>
            </a:r>
          </a:p>
        </p:txBody>
      </p:sp>
      <p:sp>
        <p:nvSpPr>
          <p:cNvPr id="22" name="TextBox 21"/>
          <p:cNvSpPr txBox="1"/>
          <p:nvPr userDrawn="1"/>
        </p:nvSpPr>
        <p:spPr>
          <a:xfrm>
            <a:off x="5588168" y="4461935"/>
            <a:ext cx="150779" cy="100348"/>
          </a:xfrm>
          <a:prstGeom prst="rect">
            <a:avLst/>
          </a:prstGeom>
          <a:noFill/>
        </p:spPr>
        <p:txBody>
          <a:bodyPr wrap="square" lIns="0" tIns="0" rIns="0" bIns="0" rtlCol="0">
            <a:spAutoFit/>
          </a:bodyPr>
          <a:lstStyle/>
          <a:p>
            <a:pPr marL="0" indent="0" algn="r">
              <a:spcBef>
                <a:spcPts val="801"/>
              </a:spcBef>
              <a:buSzPct val="100000"/>
              <a:buFont typeface="Arial"/>
              <a:buNone/>
            </a:pPr>
            <a:fld id="{C58DF478-B544-4ED8-9ED4-6A2648E2D233}" type="slidenum">
              <a:rPr lang="en-US" sz="652" noProof="0" smtClean="0">
                <a:solidFill>
                  <a:schemeClr val="bg1"/>
                </a:solidFill>
              </a:rPr>
              <a:pPr marL="0" indent="0" algn="r">
                <a:spcBef>
                  <a:spcPts val="801"/>
                </a:spcBef>
                <a:buSzPct val="100000"/>
                <a:buFont typeface="Arial"/>
                <a:buNone/>
              </a:pPr>
              <a:t>‹#›</a:t>
            </a:fld>
            <a:endParaRPr lang="en-US" sz="652" noProof="0" dirty="0">
              <a:solidFill>
                <a:schemeClr val="bg1"/>
              </a:solidFill>
            </a:endParaRPr>
          </a:p>
        </p:txBody>
      </p:sp>
      <p:sp>
        <p:nvSpPr>
          <p:cNvPr id="15" name="TextBox 21"/>
          <p:cNvSpPr txBox="1"/>
          <p:nvPr userDrawn="1"/>
        </p:nvSpPr>
        <p:spPr>
          <a:xfrm>
            <a:off x="-808919" y="4592996"/>
            <a:ext cx="747431" cy="431400"/>
          </a:xfrm>
          <a:prstGeom prst="rect">
            <a:avLst/>
          </a:prstGeom>
          <a:noFill/>
          <a:ln>
            <a:noFill/>
          </a:ln>
        </p:spPr>
        <p:txBody>
          <a:bodyPr wrap="square" lIns="0" tIns="0" rIns="0" bIns="0" rtlCol="0">
            <a:spAutoFit/>
          </a:bodyPr>
          <a:lstStyle/>
          <a:p>
            <a:pPr algn="r">
              <a:spcAft>
                <a:spcPts val="270"/>
              </a:spcAft>
            </a:pPr>
            <a:r>
              <a:rPr lang="en-US" sz="701" baseline="0" noProof="0" dirty="0" smtClean="0">
                <a:ln>
                  <a:noFill/>
                </a:ln>
                <a:solidFill>
                  <a:schemeClr val="bg1">
                    <a:lumMod val="65000"/>
                  </a:schemeClr>
                </a:solidFill>
              </a:rPr>
              <a:t>Grey markers</a:t>
            </a:r>
            <a:r>
              <a:rPr lang="en-US" sz="701" dirty="0" smtClean="0">
                <a:ln>
                  <a:noFill/>
                </a:ln>
                <a:solidFill>
                  <a:schemeClr val="bg1">
                    <a:lumMod val="65000"/>
                  </a:schemeClr>
                </a:solidFill>
              </a:rPr>
              <a:t> indicate position of Deloitte Drawing Guides</a:t>
            </a:r>
            <a:endParaRPr lang="en-US" sz="701" baseline="0" noProof="0" dirty="0" smtClean="0">
              <a:ln>
                <a:noFill/>
              </a:ln>
              <a:solidFill>
                <a:schemeClr val="bg1">
                  <a:lumMod val="65000"/>
                </a:schemeClr>
              </a:solidFill>
            </a:endParaRPr>
          </a:p>
        </p:txBody>
      </p:sp>
      <p:cxnSp>
        <p:nvCxnSpPr>
          <p:cNvPr id="16" name="Straight Arrow Connector 12"/>
          <p:cNvCxnSpPr/>
          <p:nvPr userDrawn="1"/>
        </p:nvCxnSpPr>
        <p:spPr>
          <a:xfrm>
            <a:off x="-381894" y="4462068"/>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7" name="Straight Arrow Connector 12"/>
          <p:cNvCxnSpPr/>
          <p:nvPr userDrawn="1"/>
        </p:nvCxnSpPr>
        <p:spPr>
          <a:xfrm>
            <a:off x="-392411"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3" name="Straight Arrow Connector 12"/>
          <p:cNvCxnSpPr/>
          <p:nvPr userDrawn="1"/>
        </p:nvCxnSpPr>
        <p:spPr>
          <a:xfrm>
            <a:off x="6015633"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4" name="Straight Arrow Connector 12"/>
          <p:cNvCxnSpPr/>
          <p:nvPr userDrawn="1"/>
        </p:nvCxnSpPr>
        <p:spPr>
          <a:xfrm>
            <a:off x="6015633" y="4463033"/>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5" name="Straight Arrow Connector 14"/>
          <p:cNvCxnSpPr/>
          <p:nvPr userDrawn="1"/>
        </p:nvCxnSpPr>
        <p:spPr>
          <a:xfrm>
            <a:off x="5738945"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6" name="Straight Arrow Connector 14"/>
          <p:cNvCxnSpPr/>
          <p:nvPr userDrawn="1"/>
        </p:nvCxnSpPr>
        <p:spPr>
          <a:xfrm>
            <a:off x="226418" y="-29095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7" name="Straight Arrow Connector 14"/>
          <p:cNvCxnSpPr/>
          <p:nvPr userDrawn="1"/>
        </p:nvCxnSpPr>
        <p:spPr>
          <a:xfrm>
            <a:off x="5738945" y="-320178"/>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8" name="Straight Arrow Connector 14"/>
          <p:cNvCxnSpPr/>
          <p:nvPr userDrawn="1"/>
        </p:nvCxnSpPr>
        <p:spPr>
          <a:xfrm>
            <a:off x="226418"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27237144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148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內頁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30056" y="1147201"/>
            <a:ext cx="4577010" cy="3192249"/>
          </a:xfrm>
          <a:prstGeom prst="rect">
            <a:avLst/>
          </a:prstGeom>
        </p:spPr>
        <p:txBody>
          <a:bodyPr/>
          <a:lstStyle>
            <a:lvl1pPr>
              <a:tabLst>
                <a:tab pos="8972388" algn="r"/>
              </a:tabLst>
              <a:defRPr sz="1299">
                <a:latin typeface="+mj-lt"/>
              </a:defRPr>
            </a:lvl1pPr>
            <a:lvl2pPr>
              <a:tabLst>
                <a:tab pos="8972388" algn="r"/>
              </a:tabLst>
              <a:defRPr sz="1299">
                <a:latin typeface="+mj-lt"/>
              </a:defRPr>
            </a:lvl2pPr>
            <a:lvl3pPr>
              <a:tabLst>
                <a:tab pos="8972388" algn="r"/>
              </a:tabLst>
              <a:defRPr sz="1299">
                <a:latin typeface="+mj-lt"/>
              </a:defRPr>
            </a:lvl3pPr>
            <a:lvl4pPr>
              <a:tabLst>
                <a:tab pos="8972388" algn="r"/>
              </a:tabLst>
              <a:defRPr sz="1299">
                <a:latin typeface="+mj-lt"/>
              </a:defRPr>
            </a:lvl4pPr>
            <a:lvl5pPr>
              <a:tabLst>
                <a:tab pos="6705478" algn="r"/>
              </a:tabLst>
              <a:defRPr sz="1299" baseline="0">
                <a:latin typeface="+mj-lt"/>
              </a:defRPr>
            </a:lvl5pPr>
            <a:lvl6pPr>
              <a:tabLst>
                <a:tab pos="8972388" algn="r"/>
              </a:tabLst>
              <a:defRPr/>
            </a:lvl6pPr>
            <a:lvl7pPr>
              <a:tabLst>
                <a:tab pos="8972388" algn="r"/>
              </a:tabLst>
              <a:defRPr/>
            </a:lvl7pPr>
            <a:lvl8pPr>
              <a:tabLst>
                <a:tab pos="8972388" algn="r"/>
              </a:tabLst>
              <a:defRPr/>
            </a:lvl8pPr>
            <a:lvl9pPr>
              <a:tabLst>
                <a:tab pos="8972388" algn="r"/>
              </a:tabLst>
              <a:defRPr/>
            </a:lvl9pPr>
          </a:lstStyle>
          <a:p>
            <a:pPr lvl="0"/>
            <a:r>
              <a:rPr lang="zh-TW" altLang="en-US" smtClean="0"/>
              <a:t>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en-US" dirty="0"/>
          </a:p>
        </p:txBody>
      </p:sp>
      <p:sp>
        <p:nvSpPr>
          <p:cNvPr id="5" name="Text Placeholder 8"/>
          <p:cNvSpPr>
            <a:spLocks noGrp="1"/>
          </p:cNvSpPr>
          <p:nvPr>
            <p:ph type="body" sz="quarter" idx="13" hasCustomPrompt="1"/>
          </p:nvPr>
        </p:nvSpPr>
        <p:spPr>
          <a:xfrm>
            <a:off x="230055" y="507500"/>
            <a:ext cx="5508890" cy="521665"/>
          </a:xfrm>
          <a:prstGeom prst="rect">
            <a:avLst/>
          </a:prstGeom>
        </p:spPr>
        <p:txBody>
          <a:bodyPr lIns="0" tIns="0" rIns="0" bIns="0">
            <a:noAutofit/>
          </a:bodyPr>
          <a:lstStyle>
            <a:lvl1pPr marL="0" indent="0">
              <a:buNone/>
              <a:defRPr sz="2100" b="0">
                <a:solidFill>
                  <a:srgbClr val="575757"/>
                </a:solidFill>
                <a:latin typeface="Calibri" panose="020F0502020204030204" pitchFamily="34" charset="0"/>
                <a:cs typeface="Calibri" panose="020F0502020204030204" pitchFamily="34" charset="0"/>
              </a:defRPr>
            </a:lvl1pPr>
          </a:lstStyle>
          <a:p>
            <a:pPr lvl="0"/>
            <a:r>
              <a:rPr lang="en-US" noProof="0" dirty="0" smtClean="0"/>
              <a:t>Click to add subtitle</a:t>
            </a:r>
            <a:endParaRPr lang="en-US" noProof="0" dirty="0"/>
          </a:p>
        </p:txBody>
      </p:sp>
      <p:sp>
        <p:nvSpPr>
          <p:cNvPr id="6" name="Title Placeholder 1"/>
          <p:cNvSpPr>
            <a:spLocks noGrp="1"/>
          </p:cNvSpPr>
          <p:nvPr>
            <p:ph type="title" hasCustomPrompt="1"/>
          </p:nvPr>
        </p:nvSpPr>
        <p:spPr>
          <a:xfrm>
            <a:off x="230055" y="277338"/>
            <a:ext cx="5508890" cy="230159"/>
          </a:xfrm>
          <a:prstGeom prst="rect">
            <a:avLst/>
          </a:prstGeom>
        </p:spPr>
        <p:txBody>
          <a:bodyPr vert="horz" lIns="0" tIns="0" rIns="0" bIns="0" rtlCol="0" anchor="t" anchorCtr="0">
            <a:noAutofit/>
          </a:bodyPr>
          <a:lstStyle>
            <a:lvl1pPr>
              <a:defRPr sz="2100">
                <a:latin typeface="+mj-lt"/>
              </a:defRPr>
            </a:lvl1pPr>
          </a:lstStyle>
          <a:p>
            <a:r>
              <a:rPr lang="zh-TW" altLang="en-US" noProof="0" dirty="0" smtClean="0"/>
              <a:t>按一下以編輯母片標題樣式 </a:t>
            </a:r>
            <a:endParaRPr lang="en-US" noProof="0" dirty="0"/>
          </a:p>
        </p:txBody>
      </p:sp>
    </p:spTree>
    <p:extLst>
      <p:ext uri="{BB962C8B-B14F-4D97-AF65-F5344CB8AC3E}">
        <p14:creationId xmlns:p14="http://schemas.microsoft.com/office/powerpoint/2010/main" val="236510875"/>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內頁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2744052" y="1171258"/>
            <a:ext cx="2994895" cy="3168192"/>
          </a:xfrm>
        </p:spPr>
        <p:txBody>
          <a:bodyPr/>
          <a:lstStyle/>
          <a:p>
            <a:r>
              <a:rPr lang="zh-TW" altLang="en-US" noProof="0" smtClean="0"/>
              <a:t>按一下圖示以新增圖片</a:t>
            </a:r>
            <a:endParaRPr lang="en-US" noProof="0" dirty="0"/>
          </a:p>
        </p:txBody>
      </p:sp>
      <p:sp>
        <p:nvSpPr>
          <p:cNvPr id="6" name="Content Placeholder 3"/>
          <p:cNvSpPr>
            <a:spLocks noGrp="1"/>
          </p:cNvSpPr>
          <p:nvPr>
            <p:ph sz="quarter" idx="10"/>
          </p:nvPr>
        </p:nvSpPr>
        <p:spPr>
          <a:xfrm>
            <a:off x="230059" y="1147200"/>
            <a:ext cx="2121689" cy="3192250"/>
          </a:xfrm>
          <a:prstGeom prst="rect">
            <a:avLst/>
          </a:prstGeom>
        </p:spPr>
        <p:txBody>
          <a:bodyPr/>
          <a:lstStyle>
            <a:lvl1pPr>
              <a:tabLst>
                <a:tab pos="6705478" algn="r"/>
              </a:tabLst>
              <a:defRPr sz="1299">
                <a:latin typeface="+mn-ea"/>
                <a:ea typeface="+mn-ea"/>
              </a:defRPr>
            </a:lvl1pPr>
            <a:lvl2pPr>
              <a:tabLst>
                <a:tab pos="6705478" algn="r"/>
              </a:tabLst>
              <a:defRPr sz="1299">
                <a:latin typeface="+mn-ea"/>
                <a:ea typeface="+mn-ea"/>
              </a:defRPr>
            </a:lvl2pPr>
            <a:lvl3pPr>
              <a:tabLst>
                <a:tab pos="6705478" algn="r"/>
              </a:tabLst>
              <a:defRPr sz="1299">
                <a:latin typeface="+mn-ea"/>
                <a:ea typeface="+mn-ea"/>
              </a:defRPr>
            </a:lvl3pPr>
            <a:lvl4pPr>
              <a:tabLst>
                <a:tab pos="6705478" algn="r"/>
              </a:tabLst>
              <a:defRPr sz="1299">
                <a:latin typeface="+mn-ea"/>
                <a:ea typeface="+mn-ea"/>
              </a:defRPr>
            </a:lvl4pPr>
            <a:lvl5pPr>
              <a:tabLst>
                <a:tab pos="6705478" algn="r"/>
              </a:tabLst>
              <a:defRPr sz="1299" baseline="0">
                <a:latin typeface="+mn-ea"/>
                <a:ea typeface="+mn-ea"/>
              </a:defRPr>
            </a:lvl5pPr>
          </a:lstStyle>
          <a:p>
            <a:pPr lvl="0"/>
            <a:r>
              <a:rPr lang="zh-TW" altLang="en-US" noProof="0" smtClean="0"/>
              <a:t>編輯母片文字樣式</a:t>
            </a:r>
          </a:p>
          <a:p>
            <a:pPr lvl="1"/>
            <a:r>
              <a:rPr lang="zh-TW" altLang="en-US" noProof="0" smtClean="0"/>
              <a:t>第二層</a:t>
            </a:r>
          </a:p>
          <a:p>
            <a:pPr lvl="2"/>
            <a:r>
              <a:rPr lang="zh-TW" altLang="en-US" noProof="0" smtClean="0"/>
              <a:t>第三層</a:t>
            </a:r>
          </a:p>
          <a:p>
            <a:pPr lvl="3"/>
            <a:r>
              <a:rPr lang="zh-TW" altLang="en-US" noProof="0" smtClean="0"/>
              <a:t>第四層</a:t>
            </a:r>
          </a:p>
          <a:p>
            <a:pPr lvl="4"/>
            <a:r>
              <a:rPr lang="zh-TW" altLang="en-US" noProof="0" smtClean="0"/>
              <a:t>第五層</a:t>
            </a:r>
            <a:endParaRPr lang="en-US" noProof="0" dirty="0"/>
          </a:p>
        </p:txBody>
      </p:sp>
      <p:sp>
        <p:nvSpPr>
          <p:cNvPr id="8" name="Text Placeholder 8"/>
          <p:cNvSpPr>
            <a:spLocks noGrp="1"/>
          </p:cNvSpPr>
          <p:nvPr>
            <p:ph type="body" sz="quarter" idx="13" hasCustomPrompt="1"/>
          </p:nvPr>
        </p:nvSpPr>
        <p:spPr>
          <a:xfrm>
            <a:off x="230055" y="507500"/>
            <a:ext cx="5508890" cy="521665"/>
          </a:xfrm>
          <a:prstGeom prst="rect">
            <a:avLst/>
          </a:prstGeom>
        </p:spPr>
        <p:txBody>
          <a:bodyPr lIns="0" tIns="0" rIns="0" bIns="0">
            <a:noAutofit/>
          </a:bodyPr>
          <a:lstStyle>
            <a:lvl1pPr marL="0" indent="0">
              <a:buNone/>
              <a:defRPr sz="2100" b="0">
                <a:solidFill>
                  <a:srgbClr val="575757"/>
                </a:solidFill>
                <a:latin typeface="Calibri" panose="020F0502020204030204" pitchFamily="34" charset="0"/>
                <a:cs typeface="Calibri" panose="020F0502020204030204" pitchFamily="34" charset="0"/>
              </a:defRPr>
            </a:lvl1pPr>
          </a:lstStyle>
          <a:p>
            <a:pPr lvl="0"/>
            <a:r>
              <a:rPr lang="en-US" noProof="0" dirty="0"/>
              <a:t>Click to add subtitle</a:t>
            </a:r>
          </a:p>
        </p:txBody>
      </p:sp>
      <p:sp>
        <p:nvSpPr>
          <p:cNvPr id="9" name="Title Placeholder 1"/>
          <p:cNvSpPr>
            <a:spLocks noGrp="1"/>
          </p:cNvSpPr>
          <p:nvPr>
            <p:ph type="title"/>
          </p:nvPr>
        </p:nvSpPr>
        <p:spPr>
          <a:xfrm>
            <a:off x="230055" y="277338"/>
            <a:ext cx="5508890" cy="230159"/>
          </a:xfrm>
          <a:prstGeom prst="rect">
            <a:avLst/>
          </a:prstGeom>
        </p:spPr>
        <p:txBody>
          <a:bodyPr vert="horz" lIns="0" tIns="0" rIns="0" bIns="0" rtlCol="0" anchor="t" anchorCtr="0">
            <a:noAutofit/>
          </a:bodyPr>
          <a:lstStyle>
            <a:lvl1pPr>
              <a:defRPr sz="2100"/>
            </a:lvl1pPr>
          </a:lstStyle>
          <a:p>
            <a:r>
              <a:rPr lang="zh-TW" altLang="en-US" noProof="0" smtClean="0"/>
              <a:t>按一下以編輯母片標題樣式</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內頁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230055" y="1147200"/>
            <a:ext cx="5508890" cy="3192250"/>
          </a:xfrm>
          <a:prstGeom prst="rect">
            <a:avLst/>
          </a:prstGeom>
        </p:spPr>
        <p:txBody>
          <a:bodyPr vert="horz" lIns="0" tIns="0" rIns="0" bIns="0" rtlCol="0">
            <a:noAutofit/>
          </a:bodyPr>
          <a:lstStyle>
            <a:lvl1pPr>
              <a:defRPr sz="1299">
                <a:latin typeface="+mn-lt"/>
              </a:defRPr>
            </a:lvl1pPr>
            <a:lvl2pPr>
              <a:defRPr sz="1299">
                <a:latin typeface="+mn-lt"/>
              </a:defRPr>
            </a:lvl2pPr>
            <a:lvl3pPr>
              <a:defRPr sz="1299">
                <a:latin typeface="+mn-lt"/>
              </a:defRPr>
            </a:lvl3pPr>
            <a:lvl4pPr>
              <a:defRPr sz="1299">
                <a:latin typeface="+mn-lt"/>
              </a:defRPr>
            </a:lvl4pPr>
            <a:lvl5pPr>
              <a:defRPr sz="1299">
                <a:latin typeface="+mn-lt"/>
              </a:defRPr>
            </a:lvl5pPr>
          </a:lstStyle>
          <a:p>
            <a:pPr lvl="0"/>
            <a:r>
              <a:rPr lang="zh-TW" altLang="en-US" noProof="0" smtClean="0"/>
              <a:t>編輯母片文字樣式</a:t>
            </a:r>
          </a:p>
          <a:p>
            <a:pPr lvl="1"/>
            <a:r>
              <a:rPr lang="zh-TW" altLang="en-US" noProof="0" smtClean="0"/>
              <a:t>第二層</a:t>
            </a:r>
          </a:p>
          <a:p>
            <a:pPr lvl="2"/>
            <a:r>
              <a:rPr lang="zh-TW" altLang="en-US" noProof="0" smtClean="0"/>
              <a:t>第三層</a:t>
            </a:r>
          </a:p>
          <a:p>
            <a:pPr lvl="3"/>
            <a:r>
              <a:rPr lang="zh-TW" altLang="en-US" noProof="0" smtClean="0"/>
              <a:t>第四層</a:t>
            </a:r>
          </a:p>
          <a:p>
            <a:pPr lvl="4"/>
            <a:r>
              <a:rPr lang="zh-TW" altLang="en-US" noProof="0" smtClean="0"/>
              <a:t>第五層</a:t>
            </a:r>
            <a:endParaRPr lang="en-US" noProof="0" dirty="0"/>
          </a:p>
        </p:txBody>
      </p:sp>
      <p:sp>
        <p:nvSpPr>
          <p:cNvPr id="4" name="Text Placeholder 8"/>
          <p:cNvSpPr>
            <a:spLocks noGrp="1"/>
          </p:cNvSpPr>
          <p:nvPr>
            <p:ph type="body" sz="quarter" idx="13" hasCustomPrompt="1"/>
          </p:nvPr>
        </p:nvSpPr>
        <p:spPr>
          <a:xfrm>
            <a:off x="230055" y="507500"/>
            <a:ext cx="5508890" cy="521665"/>
          </a:xfrm>
          <a:prstGeom prst="rect">
            <a:avLst/>
          </a:prstGeom>
        </p:spPr>
        <p:txBody>
          <a:bodyPr lIns="0" tIns="0" rIns="0" bIns="0">
            <a:noAutofit/>
          </a:bodyPr>
          <a:lstStyle>
            <a:lvl1pPr marL="0" indent="0">
              <a:buNone/>
              <a:defRPr sz="2100" b="0">
                <a:solidFill>
                  <a:srgbClr val="575757"/>
                </a:solidFill>
                <a:latin typeface="Calibri" panose="020F0502020204030204" pitchFamily="34" charset="0"/>
                <a:cs typeface="Calibri" panose="020F0502020204030204" pitchFamily="34" charset="0"/>
              </a:defRPr>
            </a:lvl1pPr>
          </a:lstStyle>
          <a:p>
            <a:pPr lvl="0"/>
            <a:r>
              <a:rPr lang="en-US" noProof="0" dirty="0"/>
              <a:t>Click to add subtitle</a:t>
            </a:r>
          </a:p>
        </p:txBody>
      </p:sp>
      <p:sp>
        <p:nvSpPr>
          <p:cNvPr id="5" name="Title Placeholder 1"/>
          <p:cNvSpPr>
            <a:spLocks noGrp="1"/>
          </p:cNvSpPr>
          <p:nvPr>
            <p:ph type="title"/>
          </p:nvPr>
        </p:nvSpPr>
        <p:spPr>
          <a:xfrm>
            <a:off x="230055" y="277338"/>
            <a:ext cx="5508890" cy="230159"/>
          </a:xfrm>
          <a:prstGeom prst="rect">
            <a:avLst/>
          </a:prstGeom>
        </p:spPr>
        <p:txBody>
          <a:bodyPr vert="horz" lIns="0" tIns="0" rIns="0" bIns="0" rtlCol="0" anchor="t" anchorCtr="0">
            <a:noAutofit/>
          </a:bodyPr>
          <a:lstStyle>
            <a:lvl1pPr>
              <a:defRPr sz="2100">
                <a:latin typeface="Calibri" panose="020F0502020204030204" pitchFamily="34" charset="0"/>
                <a:cs typeface="Calibri" panose="020F0502020204030204" pitchFamily="34" charset="0"/>
              </a:defRPr>
            </a:lvl1pPr>
          </a:lstStyle>
          <a:p>
            <a:r>
              <a:rPr lang="zh-TW" altLang="en-US" noProof="0" smtClean="0"/>
              <a:t>按一下以編輯母片標題樣式</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內頁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230055" y="507500"/>
            <a:ext cx="5508890" cy="521665"/>
          </a:xfrm>
          <a:prstGeom prst="rect">
            <a:avLst/>
          </a:prstGeom>
        </p:spPr>
        <p:txBody>
          <a:bodyPr lIns="0" tIns="0" rIns="0" bIns="0">
            <a:noAutofit/>
          </a:bodyPr>
          <a:lstStyle>
            <a:lvl1pPr marL="0" indent="0">
              <a:buNone/>
              <a:defRPr sz="2100" b="0">
                <a:solidFill>
                  <a:srgbClr val="575757"/>
                </a:solidFill>
                <a:latin typeface="Calibri" panose="020F0502020204030204" pitchFamily="34" charset="0"/>
                <a:cs typeface="Calibri" panose="020F0502020204030204" pitchFamily="34" charset="0"/>
              </a:defRPr>
            </a:lvl1pPr>
          </a:lstStyle>
          <a:p>
            <a:pPr lvl="0"/>
            <a:r>
              <a:rPr lang="en-US" noProof="0" dirty="0"/>
              <a:t>Click to add subtitle</a:t>
            </a:r>
          </a:p>
        </p:txBody>
      </p:sp>
      <p:sp>
        <p:nvSpPr>
          <p:cNvPr id="14" name="Title Placeholder 1"/>
          <p:cNvSpPr>
            <a:spLocks noGrp="1"/>
          </p:cNvSpPr>
          <p:nvPr>
            <p:ph type="title" hasCustomPrompt="1"/>
          </p:nvPr>
        </p:nvSpPr>
        <p:spPr>
          <a:xfrm>
            <a:off x="230055" y="277338"/>
            <a:ext cx="5508890" cy="230159"/>
          </a:xfrm>
          <a:prstGeom prst="rect">
            <a:avLst/>
          </a:prstGeom>
        </p:spPr>
        <p:txBody>
          <a:bodyPr vert="horz" lIns="0" tIns="0" rIns="0" bIns="0" rtlCol="0" anchor="t" anchorCtr="0">
            <a:noAutofit/>
          </a:bodyPr>
          <a:lstStyle>
            <a:lvl1pPr>
              <a:defRPr sz="2100"/>
            </a:lvl1pPr>
          </a:lstStyle>
          <a:p>
            <a:r>
              <a:rPr lang="zh-TW" altLang="en-US" noProof="0" dirty="0" smtClean="0"/>
              <a:t>按一下以編輯母片標題樣式 </a:t>
            </a:r>
            <a:endParaRPr lang="en-US" noProof="0" dirty="0"/>
          </a:p>
        </p:txBody>
      </p:sp>
      <p:sp>
        <p:nvSpPr>
          <p:cNvPr id="8" name="Text Placeholder 18"/>
          <p:cNvSpPr>
            <a:spLocks noGrp="1"/>
          </p:cNvSpPr>
          <p:nvPr>
            <p:ph idx="1"/>
          </p:nvPr>
        </p:nvSpPr>
        <p:spPr>
          <a:xfrm>
            <a:off x="230055" y="1147565"/>
            <a:ext cx="5508890" cy="3191886"/>
          </a:xfrm>
          <a:prstGeom prst="rect">
            <a:avLst/>
          </a:prstGeom>
        </p:spPr>
        <p:txBody>
          <a:bodyPr vert="horz" lIns="0" tIns="0" rIns="0" bIns="0" rtlCol="0">
            <a:noAutofit/>
          </a:bodyPr>
          <a:lstStyle>
            <a:lvl1pPr>
              <a:defRPr sz="1299">
                <a:latin typeface="+mn-lt"/>
              </a:defRPr>
            </a:lvl1pPr>
            <a:lvl2pPr>
              <a:defRPr sz="1299">
                <a:latin typeface="+mn-lt"/>
              </a:defRPr>
            </a:lvl2pPr>
            <a:lvl3pPr>
              <a:defRPr sz="1299">
                <a:latin typeface="+mn-lt"/>
              </a:defRPr>
            </a:lvl3pPr>
            <a:lvl4pPr>
              <a:defRPr sz="1299">
                <a:latin typeface="+mn-lt"/>
              </a:defRPr>
            </a:lvl4pPr>
            <a:lvl5pPr>
              <a:defRPr sz="1299">
                <a:latin typeface="+mn-lt"/>
              </a:defRPr>
            </a:lvl5pPr>
          </a:lstStyle>
          <a:p>
            <a:pPr lvl="0"/>
            <a:r>
              <a:rPr lang="zh-TW" altLang="en-US" noProof="0" smtClean="0"/>
              <a:t>編輯母片文字樣式</a:t>
            </a:r>
          </a:p>
          <a:p>
            <a:pPr lvl="1"/>
            <a:r>
              <a:rPr lang="zh-TW" altLang="en-US" noProof="0" smtClean="0"/>
              <a:t>第二層</a:t>
            </a:r>
          </a:p>
          <a:p>
            <a:pPr lvl="2"/>
            <a:r>
              <a:rPr lang="zh-TW" altLang="en-US" noProof="0" smtClean="0"/>
              <a:t>第三層</a:t>
            </a:r>
          </a:p>
          <a:p>
            <a:pPr lvl="3"/>
            <a:r>
              <a:rPr lang="zh-TW" altLang="en-US" noProof="0" smtClean="0"/>
              <a:t>第四層</a:t>
            </a:r>
          </a:p>
          <a:p>
            <a:pPr lvl="4"/>
            <a:r>
              <a:rPr lang="zh-TW" altLang="en-US" noProof="0" smtClean="0"/>
              <a:t>第五層</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內頁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229125" y="1415381"/>
            <a:ext cx="5508890" cy="2706100"/>
          </a:xfrm>
          <a:prstGeom prst="rect">
            <a:avLst/>
          </a:prstGeom>
        </p:spPr>
        <p:txBody>
          <a:bodyPr/>
          <a:lstStyle/>
          <a:p>
            <a:r>
              <a:rPr lang="zh-TW" altLang="en-US" noProof="0" smtClean="0"/>
              <a:t>按一下圖示以新增圖表</a:t>
            </a:r>
            <a:endParaRPr lang="en-US" noProof="0" dirty="0"/>
          </a:p>
        </p:txBody>
      </p:sp>
      <p:sp>
        <p:nvSpPr>
          <p:cNvPr id="18" name="Text Placeholder 8"/>
          <p:cNvSpPr>
            <a:spLocks noGrp="1"/>
          </p:cNvSpPr>
          <p:nvPr>
            <p:ph type="body" sz="quarter" idx="18"/>
          </p:nvPr>
        </p:nvSpPr>
        <p:spPr>
          <a:xfrm>
            <a:off x="229125" y="1143429"/>
            <a:ext cx="5508890" cy="246062"/>
          </a:xfrm>
        </p:spPr>
        <p:txBody>
          <a:bodyPr/>
          <a:lstStyle>
            <a:lvl1pPr>
              <a:defRPr>
                <a:latin typeface="Calibri" panose="020F0502020204030204" pitchFamily="34" charset="0"/>
                <a:ea typeface="+mn-ea"/>
                <a:cs typeface="Calibri" panose="020F0502020204030204" pitchFamily="34" charset="0"/>
              </a:defRPr>
            </a:lvl1pPr>
          </a:lstStyle>
          <a:p>
            <a:pPr lvl="0"/>
            <a:r>
              <a:rPr lang="zh-TW" altLang="en-US" noProof="0" smtClean="0"/>
              <a:t>編輯母片文字樣式</a:t>
            </a:r>
          </a:p>
        </p:txBody>
      </p:sp>
      <p:sp>
        <p:nvSpPr>
          <p:cNvPr id="19" name="Text Placeholder 7"/>
          <p:cNvSpPr>
            <a:spLocks noGrp="1"/>
          </p:cNvSpPr>
          <p:nvPr>
            <p:ph type="body" sz="quarter" idx="23"/>
          </p:nvPr>
        </p:nvSpPr>
        <p:spPr>
          <a:xfrm>
            <a:off x="229127" y="4121482"/>
            <a:ext cx="5508890" cy="217972"/>
          </a:xfrm>
        </p:spPr>
        <p:txBody>
          <a:bodyPr>
            <a:noAutofit/>
          </a:bodyPr>
          <a:lstStyle>
            <a:lvl1pPr>
              <a:spcAft>
                <a:spcPts val="0"/>
              </a:spcAft>
              <a:defRPr sz="901"/>
            </a:lvl1pPr>
          </a:lstStyle>
          <a:p>
            <a:pPr lvl="0"/>
            <a:r>
              <a:rPr lang="zh-TW" altLang="en-US" noProof="0" smtClean="0"/>
              <a:t>編輯母片文字樣式</a:t>
            </a:r>
          </a:p>
        </p:txBody>
      </p:sp>
      <p:sp>
        <p:nvSpPr>
          <p:cNvPr id="7" name="Text Placeholder 8"/>
          <p:cNvSpPr>
            <a:spLocks noGrp="1"/>
          </p:cNvSpPr>
          <p:nvPr>
            <p:ph type="body" sz="quarter" idx="13" hasCustomPrompt="1"/>
          </p:nvPr>
        </p:nvSpPr>
        <p:spPr>
          <a:xfrm>
            <a:off x="230055" y="507500"/>
            <a:ext cx="5508890" cy="521665"/>
          </a:xfrm>
          <a:prstGeom prst="rect">
            <a:avLst/>
          </a:prstGeom>
        </p:spPr>
        <p:txBody>
          <a:bodyPr lIns="0" tIns="0" rIns="0" bIns="0">
            <a:noAutofit/>
          </a:bodyPr>
          <a:lstStyle>
            <a:lvl1pPr marL="0" indent="0">
              <a:buNone/>
              <a:defRPr sz="2100" b="0">
                <a:solidFill>
                  <a:srgbClr val="575757"/>
                </a:solidFill>
                <a:latin typeface="Calibri" panose="020F0502020204030204" pitchFamily="34" charset="0"/>
                <a:cs typeface="Calibri" panose="020F0502020204030204" pitchFamily="34" charset="0"/>
              </a:defRPr>
            </a:lvl1pPr>
          </a:lstStyle>
          <a:p>
            <a:pPr lvl="0"/>
            <a:r>
              <a:rPr lang="en-US" noProof="0" dirty="0"/>
              <a:t>Click to add subtitle</a:t>
            </a:r>
          </a:p>
        </p:txBody>
      </p:sp>
      <p:sp>
        <p:nvSpPr>
          <p:cNvPr id="8" name="Title Placeholder 1"/>
          <p:cNvSpPr>
            <a:spLocks noGrp="1"/>
          </p:cNvSpPr>
          <p:nvPr>
            <p:ph type="title"/>
          </p:nvPr>
        </p:nvSpPr>
        <p:spPr>
          <a:xfrm>
            <a:off x="230055" y="277338"/>
            <a:ext cx="5508890" cy="230159"/>
          </a:xfrm>
          <a:prstGeom prst="rect">
            <a:avLst/>
          </a:prstGeom>
        </p:spPr>
        <p:txBody>
          <a:bodyPr vert="horz" lIns="0" tIns="0" rIns="0" bIns="0" rtlCol="0" anchor="t" anchorCtr="0">
            <a:noAutofit/>
          </a:bodyPr>
          <a:lstStyle>
            <a:lvl1pPr>
              <a:defRPr sz="2100">
                <a:latin typeface="+mj-lt"/>
              </a:defRPr>
            </a:lvl1pPr>
          </a:lstStyle>
          <a:p>
            <a:r>
              <a:rPr lang="zh-TW" altLang="en-US" noProof="0" smtClean="0"/>
              <a:t>按一下以編輯母片標題樣式</a:t>
            </a:r>
            <a:endParaRPr lang="en-US" noProof="0" dirty="0"/>
          </a:p>
        </p:txBody>
      </p:sp>
      <p:cxnSp>
        <p:nvCxnSpPr>
          <p:cNvPr id="12" name="直線接點 11"/>
          <p:cNvCxnSpPr/>
          <p:nvPr userDrawn="1"/>
        </p:nvCxnSpPr>
        <p:spPr>
          <a:xfrm flipV="1">
            <a:off x="5738945" y="-308398"/>
            <a:ext cx="0" cy="248000"/>
          </a:xfrm>
          <a:prstGeom prst="line">
            <a:avLst/>
          </a:prstGeom>
          <a:ln>
            <a:solidFill>
              <a:schemeClr val="bg2">
                <a:lumMod val="90000"/>
              </a:schemeClr>
            </a:solidFill>
          </a:ln>
        </p:spPr>
        <p:style>
          <a:lnRef idx="1">
            <a:schemeClr val="dk1"/>
          </a:lnRef>
          <a:fillRef idx="0">
            <a:schemeClr val="dk1"/>
          </a:fillRef>
          <a:effectRef idx="0">
            <a:schemeClr val="dk1"/>
          </a:effectRef>
          <a:fontRef idx="minor">
            <a:schemeClr val="tx1"/>
          </a:fontRef>
        </p:style>
      </p:cxnSp>
      <p:cxnSp>
        <p:nvCxnSpPr>
          <p:cNvPr id="13" name="直線接點 12"/>
          <p:cNvCxnSpPr/>
          <p:nvPr userDrawn="1"/>
        </p:nvCxnSpPr>
        <p:spPr>
          <a:xfrm flipV="1">
            <a:off x="5738945" y="4790017"/>
            <a:ext cx="0" cy="248000"/>
          </a:xfrm>
          <a:prstGeom prst="line">
            <a:avLst/>
          </a:prstGeom>
          <a:ln>
            <a:solidFill>
              <a:schemeClr val="bg2">
                <a:lumMod val="90000"/>
              </a:schemeClr>
            </a:solidFill>
          </a:ln>
        </p:spPr>
        <p:style>
          <a:lnRef idx="1">
            <a:schemeClr val="dk1"/>
          </a:lnRef>
          <a:fillRef idx="0">
            <a:schemeClr val="dk1"/>
          </a:fillRef>
          <a:effectRef idx="0">
            <a:schemeClr val="dk1"/>
          </a:effectRef>
          <a:fontRef idx="minor">
            <a:schemeClr val="tx1"/>
          </a:fontRef>
        </p:style>
      </p:cxnSp>
      <p:cxnSp>
        <p:nvCxnSpPr>
          <p:cNvPr id="14" name="直線接點 13"/>
          <p:cNvCxnSpPr/>
          <p:nvPr userDrawn="1"/>
        </p:nvCxnSpPr>
        <p:spPr>
          <a:xfrm flipV="1">
            <a:off x="226418" y="4783455"/>
            <a:ext cx="0" cy="248000"/>
          </a:xfrm>
          <a:prstGeom prst="line">
            <a:avLst/>
          </a:prstGeom>
          <a:ln>
            <a:solidFill>
              <a:schemeClr val="bg2">
                <a:lumMod val="90000"/>
              </a:schemeClr>
            </a:solidFill>
          </a:ln>
        </p:spPr>
        <p:style>
          <a:lnRef idx="1">
            <a:schemeClr val="dk1"/>
          </a:lnRef>
          <a:fillRef idx="0">
            <a:schemeClr val="dk1"/>
          </a:fillRef>
          <a:effectRef idx="0">
            <a:schemeClr val="dk1"/>
          </a:effectRef>
          <a:fontRef idx="minor">
            <a:schemeClr val="tx1"/>
          </a:fontRef>
        </p:style>
      </p:cxnSp>
      <p:cxnSp>
        <p:nvCxnSpPr>
          <p:cNvPr id="15" name="直線接點 14"/>
          <p:cNvCxnSpPr/>
          <p:nvPr userDrawn="1"/>
        </p:nvCxnSpPr>
        <p:spPr>
          <a:xfrm flipV="1">
            <a:off x="226418" y="-320178"/>
            <a:ext cx="0" cy="248000"/>
          </a:xfrm>
          <a:prstGeom prst="line">
            <a:avLst/>
          </a:prstGeom>
          <a:ln>
            <a:solidFill>
              <a:schemeClr val="bg2">
                <a:lumMod val="90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2970294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內頁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230055" y="507500"/>
            <a:ext cx="5508890" cy="521665"/>
          </a:xfrm>
          <a:prstGeom prst="rect">
            <a:avLst/>
          </a:prstGeom>
        </p:spPr>
        <p:txBody>
          <a:bodyPr lIns="0" tIns="0" rIns="0" bIns="0">
            <a:noAutofit/>
          </a:bodyPr>
          <a:lstStyle>
            <a:lvl1pPr marL="0" indent="0">
              <a:buNone/>
              <a:defRPr sz="2100" b="0">
                <a:solidFill>
                  <a:srgbClr val="575757"/>
                </a:solidFill>
                <a:latin typeface="Calibri" panose="020F0502020204030204" pitchFamily="34" charset="0"/>
                <a:cs typeface="Calibri" panose="020F0502020204030204" pitchFamily="34" charset="0"/>
              </a:defRPr>
            </a:lvl1pPr>
          </a:lstStyle>
          <a:p>
            <a:pPr lvl="0"/>
            <a:r>
              <a:rPr lang="en-US" noProof="0" dirty="0"/>
              <a:t>Click to add subtitle</a:t>
            </a:r>
          </a:p>
        </p:txBody>
      </p:sp>
      <p:sp>
        <p:nvSpPr>
          <p:cNvPr id="5" name="Title Placeholder 1"/>
          <p:cNvSpPr>
            <a:spLocks noGrp="1"/>
          </p:cNvSpPr>
          <p:nvPr>
            <p:ph type="title"/>
          </p:nvPr>
        </p:nvSpPr>
        <p:spPr>
          <a:xfrm>
            <a:off x="230055" y="277338"/>
            <a:ext cx="5508890" cy="230159"/>
          </a:xfrm>
          <a:prstGeom prst="rect">
            <a:avLst/>
          </a:prstGeom>
        </p:spPr>
        <p:txBody>
          <a:bodyPr vert="horz" lIns="0" tIns="0" rIns="0" bIns="0" rtlCol="0" anchor="t" anchorCtr="0">
            <a:noAutofit/>
          </a:bodyPr>
          <a:lstStyle>
            <a:lvl1pPr>
              <a:defRPr sz="2100"/>
            </a:lvl1pPr>
          </a:lstStyle>
          <a:p>
            <a:r>
              <a:rPr lang="zh-TW" altLang="en-US" noProof="0" smtClean="0"/>
              <a:t>按一下以編輯母片標題樣式</a:t>
            </a:r>
            <a:endParaRPr lang="en-US" noProof="0" dirty="0"/>
          </a:p>
        </p:txBody>
      </p:sp>
    </p:spTree>
    <p:extLst>
      <p:ext uri="{BB962C8B-B14F-4D97-AF65-F5344CB8AC3E}">
        <p14:creationId xmlns:p14="http://schemas.microsoft.com/office/powerpoint/2010/main" val="428195933"/>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首頁_白底圖片">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232712" y="3627874"/>
            <a:ext cx="2738900" cy="747144"/>
          </a:xfrm>
          <a:prstGeom prst="rect">
            <a:avLst/>
          </a:prstGeom>
        </p:spPr>
        <p:txBody>
          <a:bodyPr lIns="0" tIns="0" rIns="0" bIns="0" anchor="b" anchorCtr="0">
            <a:noAutofit/>
          </a:bodyPr>
          <a:lstStyle>
            <a:lvl1pPr marL="0" indent="0" algn="l">
              <a:lnSpc>
                <a:spcPct val="100000"/>
              </a:lnSpc>
              <a:spcAft>
                <a:spcPts val="0"/>
              </a:spcAft>
              <a:buNone/>
              <a:defRPr sz="1800" b="0">
                <a:solidFill>
                  <a:srgbClr val="86BC25"/>
                </a:solidFill>
                <a:latin typeface="Calibri" panose="020F0502020204030204" pitchFamily="34" charset="0"/>
                <a:ea typeface="+mj-ea"/>
                <a:cs typeface="Calibri" panose="020F0502020204030204" pitchFamily="34" charset="0"/>
              </a:defRPr>
            </a:lvl1pPr>
            <a:lvl2pPr marL="0" indent="0" algn="l">
              <a:buNone/>
              <a:defRPr sz="1800" b="0">
                <a:latin typeface="Calibri" panose="020F0502020204030204" pitchFamily="34" charset="0"/>
                <a:ea typeface="+mj-ea"/>
                <a:cs typeface="Calibri" panose="020F0502020204030204" pitchFamily="34" charset="0"/>
              </a:defRPr>
            </a:lvl2pPr>
            <a:lvl3pPr marL="1219179" indent="0" algn="ctr">
              <a:buNone/>
              <a:defRPr sz="2400"/>
            </a:lvl3pPr>
            <a:lvl4pPr marL="1828768" indent="0" algn="ctr">
              <a:buNone/>
              <a:defRPr sz="2132"/>
            </a:lvl4pPr>
            <a:lvl5pPr marL="2438358" indent="0" algn="ctr">
              <a:buNone/>
              <a:defRPr sz="2132"/>
            </a:lvl5pPr>
            <a:lvl6pPr marL="3047945" indent="0" algn="ctr">
              <a:buNone/>
              <a:defRPr sz="2132"/>
            </a:lvl6pPr>
            <a:lvl7pPr marL="3657535" indent="0" algn="ctr">
              <a:buNone/>
              <a:defRPr sz="2132"/>
            </a:lvl7pPr>
            <a:lvl8pPr marL="4267122" indent="0" algn="ctr">
              <a:buNone/>
              <a:defRPr sz="2132"/>
            </a:lvl8pPr>
            <a:lvl9pPr marL="4876714" indent="0" algn="ctr">
              <a:buNone/>
              <a:defRPr sz="2132"/>
            </a:lvl9pPr>
          </a:lstStyle>
          <a:p>
            <a:r>
              <a:rPr lang="en-US" altLang="zh-TW" noProof="0" dirty="0" smtClean="0"/>
              <a:t>Click to edit Master title style</a:t>
            </a:r>
          </a:p>
          <a:p>
            <a:pPr lvl="1"/>
            <a:r>
              <a:rPr lang="en-US" noProof="0" dirty="0" smtClean="0"/>
              <a:t>Click to edit Master subtitle style</a:t>
            </a:r>
            <a:endParaRPr lang="en-US" noProof="0" dirty="0"/>
          </a:p>
        </p:txBody>
      </p:sp>
      <p:sp>
        <p:nvSpPr>
          <p:cNvPr id="5" name="Text Placeholder 4"/>
          <p:cNvSpPr>
            <a:spLocks noGrp="1"/>
          </p:cNvSpPr>
          <p:nvPr>
            <p:ph type="body" sz="quarter" idx="10"/>
          </p:nvPr>
        </p:nvSpPr>
        <p:spPr>
          <a:xfrm>
            <a:off x="232711" y="4383197"/>
            <a:ext cx="2738900" cy="205600"/>
          </a:xfrm>
          <a:prstGeom prst="rect">
            <a:avLst/>
          </a:prstGeom>
        </p:spPr>
        <p:txBody>
          <a:bodyPr>
            <a:noAutofit/>
          </a:bodyPr>
          <a:lstStyle>
            <a:lvl1pPr>
              <a:spcAft>
                <a:spcPts val="0"/>
              </a:spcAft>
              <a:defRPr sz="1052">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TW" altLang="en-US" noProof="0" smtClean="0"/>
              <a:t>編輯母片文字樣式</a:t>
            </a:r>
          </a:p>
        </p:txBody>
      </p:sp>
      <p:sp>
        <p:nvSpPr>
          <p:cNvPr id="30" name="Picture Placeholder 8"/>
          <p:cNvSpPr>
            <a:spLocks noGrp="1"/>
          </p:cNvSpPr>
          <p:nvPr>
            <p:ph type="pic" sz="quarter" idx="11"/>
          </p:nvPr>
        </p:nvSpPr>
        <p:spPr>
          <a:xfrm>
            <a:off x="1661507" y="501232"/>
            <a:ext cx="2643750" cy="3720000"/>
          </a:xfrm>
          <a:prstGeom prst="rect">
            <a:avLst/>
          </a:prstGeom>
        </p:spPr>
        <p:txBody>
          <a:bodyPr/>
          <a:lstStyle/>
          <a:p>
            <a:r>
              <a:rPr lang="zh-TW" altLang="en-US" noProof="0" smtClean="0"/>
              <a:t>按一下圖示以新增圖片</a:t>
            </a:r>
            <a:endParaRPr lang="en-US" noProof="0" dirty="0"/>
          </a:p>
        </p:txBody>
      </p:sp>
      <p:grpSp>
        <p:nvGrpSpPr>
          <p:cNvPr id="2" name="群組 1"/>
          <p:cNvGrpSpPr/>
          <p:nvPr userDrawn="1"/>
        </p:nvGrpSpPr>
        <p:grpSpPr>
          <a:xfrm>
            <a:off x="232713" y="313031"/>
            <a:ext cx="795506" cy="209156"/>
            <a:chOff x="475329" y="454400"/>
            <a:chExt cx="1624863" cy="303614"/>
          </a:xfrm>
        </p:grpSpPr>
        <p:sp>
          <p:nvSpPr>
            <p:cNvPr id="40" name="Freeform 36"/>
            <p:cNvSpPr>
              <a:spLocks/>
            </p:cNvSpPr>
            <p:nvPr/>
          </p:nvSpPr>
          <p:spPr bwMode="auto">
            <a:xfrm>
              <a:off x="2015130" y="671090"/>
              <a:ext cx="85062" cy="86924"/>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1" name="Freeform 38"/>
            <p:cNvSpPr>
              <a:spLocks noEditPoints="1"/>
            </p:cNvSpPr>
            <p:nvPr/>
          </p:nvSpPr>
          <p:spPr bwMode="auto">
            <a:xfrm>
              <a:off x="475329" y="455642"/>
              <a:ext cx="246492" cy="297405"/>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2" name="Rectangle 41"/>
            <p:cNvSpPr>
              <a:spLocks noChangeArrowheads="1"/>
            </p:cNvSpPr>
            <p:nvPr/>
          </p:nvSpPr>
          <p:spPr bwMode="auto">
            <a:xfrm>
              <a:off x="982594" y="454400"/>
              <a:ext cx="75127" cy="298647"/>
            </a:xfrm>
            <a:prstGeom prst="rect">
              <a:avLst/>
            </a:prstGeom>
            <a:solidFill>
              <a:schemeClr val="tx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3" name="Freeform 42"/>
            <p:cNvSpPr>
              <a:spLocks noEditPoints="1"/>
            </p:cNvSpPr>
            <p:nvPr/>
          </p:nvSpPr>
          <p:spPr bwMode="auto">
            <a:xfrm>
              <a:off x="1086903" y="527044"/>
              <a:ext cx="216069" cy="23034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4" name="Rectangle 45"/>
            <p:cNvSpPr>
              <a:spLocks noChangeArrowheads="1"/>
            </p:cNvSpPr>
            <p:nvPr/>
          </p:nvSpPr>
          <p:spPr bwMode="auto">
            <a:xfrm>
              <a:off x="1332775" y="530769"/>
              <a:ext cx="75127" cy="222277"/>
            </a:xfrm>
            <a:prstGeom prst="rect">
              <a:avLst/>
            </a:prstGeom>
            <a:solidFill>
              <a:schemeClr val="tx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5" name="Rectangle 46"/>
            <p:cNvSpPr>
              <a:spLocks noChangeArrowheads="1"/>
            </p:cNvSpPr>
            <p:nvPr/>
          </p:nvSpPr>
          <p:spPr bwMode="auto">
            <a:xfrm>
              <a:off x="1332775" y="454400"/>
              <a:ext cx="75127" cy="49671"/>
            </a:xfrm>
            <a:prstGeom prst="rect">
              <a:avLst/>
            </a:prstGeom>
            <a:solidFill>
              <a:schemeClr val="tx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6" name="Freeform 47"/>
            <p:cNvSpPr>
              <a:spLocks/>
            </p:cNvSpPr>
            <p:nvPr/>
          </p:nvSpPr>
          <p:spPr bwMode="auto">
            <a:xfrm>
              <a:off x="1437705" y="461230"/>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7" name="Freeform 49"/>
            <p:cNvSpPr>
              <a:spLocks/>
            </p:cNvSpPr>
            <p:nvPr/>
          </p:nvSpPr>
          <p:spPr bwMode="auto">
            <a:xfrm>
              <a:off x="1610933" y="461230"/>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8" name="Freeform 51"/>
            <p:cNvSpPr>
              <a:spLocks noEditPoints="1"/>
            </p:cNvSpPr>
            <p:nvPr/>
          </p:nvSpPr>
          <p:spPr bwMode="auto">
            <a:xfrm>
              <a:off x="1786023" y="527044"/>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9" name="Freeform 54"/>
            <p:cNvSpPr>
              <a:spLocks noEditPoints="1"/>
            </p:cNvSpPr>
            <p:nvPr/>
          </p:nvSpPr>
          <p:spPr bwMode="auto">
            <a:xfrm>
              <a:off x="744173" y="527044"/>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grpSp>
      <p:sp>
        <p:nvSpPr>
          <p:cNvPr id="55" name="TextBox 21"/>
          <p:cNvSpPr txBox="1"/>
          <p:nvPr userDrawn="1"/>
        </p:nvSpPr>
        <p:spPr>
          <a:xfrm>
            <a:off x="-808919" y="4592996"/>
            <a:ext cx="747431" cy="431400"/>
          </a:xfrm>
          <a:prstGeom prst="rect">
            <a:avLst/>
          </a:prstGeom>
          <a:noFill/>
          <a:ln>
            <a:noFill/>
          </a:ln>
        </p:spPr>
        <p:txBody>
          <a:bodyPr wrap="square" lIns="0" tIns="0" rIns="0" bIns="0" rtlCol="0">
            <a:spAutoFit/>
          </a:bodyPr>
          <a:lstStyle/>
          <a:p>
            <a:pPr algn="r">
              <a:spcAft>
                <a:spcPts val="270"/>
              </a:spcAft>
            </a:pPr>
            <a:r>
              <a:rPr lang="en-US" sz="701" baseline="0" noProof="0" dirty="0" smtClean="0">
                <a:ln>
                  <a:noFill/>
                </a:ln>
                <a:solidFill>
                  <a:schemeClr val="bg1">
                    <a:lumMod val="65000"/>
                  </a:schemeClr>
                </a:solidFill>
              </a:rPr>
              <a:t>Grey markers</a:t>
            </a:r>
            <a:r>
              <a:rPr lang="en-US" sz="701" dirty="0" smtClean="0">
                <a:ln>
                  <a:noFill/>
                </a:ln>
                <a:solidFill>
                  <a:schemeClr val="bg1">
                    <a:lumMod val="65000"/>
                  </a:schemeClr>
                </a:solidFill>
              </a:rPr>
              <a:t> indicate position of Deloitte Drawing Guides</a:t>
            </a:r>
            <a:endParaRPr lang="en-US" sz="701" baseline="0" noProof="0" dirty="0" smtClean="0">
              <a:ln>
                <a:noFill/>
              </a:ln>
              <a:solidFill>
                <a:schemeClr val="bg1">
                  <a:lumMod val="65000"/>
                </a:schemeClr>
              </a:solidFill>
            </a:endParaRPr>
          </a:p>
        </p:txBody>
      </p:sp>
      <p:cxnSp>
        <p:nvCxnSpPr>
          <p:cNvPr id="56" name="Straight Arrow Connector 12"/>
          <p:cNvCxnSpPr/>
          <p:nvPr userDrawn="1"/>
        </p:nvCxnSpPr>
        <p:spPr>
          <a:xfrm>
            <a:off x="-381894" y="4462068"/>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7" name="Straight Arrow Connector 12"/>
          <p:cNvCxnSpPr/>
          <p:nvPr userDrawn="1"/>
        </p:nvCxnSpPr>
        <p:spPr>
          <a:xfrm>
            <a:off x="-392411"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8" name="Straight Arrow Connector 12"/>
          <p:cNvCxnSpPr/>
          <p:nvPr userDrawn="1"/>
        </p:nvCxnSpPr>
        <p:spPr>
          <a:xfrm>
            <a:off x="6015633"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9" name="Straight Arrow Connector 12"/>
          <p:cNvCxnSpPr/>
          <p:nvPr userDrawn="1"/>
        </p:nvCxnSpPr>
        <p:spPr>
          <a:xfrm>
            <a:off x="6015633" y="4463033"/>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0" name="Straight Arrow Connector 14"/>
          <p:cNvCxnSpPr/>
          <p:nvPr userDrawn="1"/>
        </p:nvCxnSpPr>
        <p:spPr>
          <a:xfrm>
            <a:off x="5738945"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1" name="Straight Arrow Connector 14"/>
          <p:cNvCxnSpPr/>
          <p:nvPr userDrawn="1"/>
        </p:nvCxnSpPr>
        <p:spPr>
          <a:xfrm>
            <a:off x="226418" y="-29095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2" name="Straight Arrow Connector 14"/>
          <p:cNvCxnSpPr/>
          <p:nvPr userDrawn="1"/>
        </p:nvCxnSpPr>
        <p:spPr>
          <a:xfrm>
            <a:off x="5738945" y="-320178"/>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3" name="Straight Arrow Connector 14"/>
          <p:cNvCxnSpPr/>
          <p:nvPr userDrawn="1"/>
        </p:nvCxnSpPr>
        <p:spPr>
          <a:xfrm>
            <a:off x="226418"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grpSp>
        <p:nvGrpSpPr>
          <p:cNvPr id="50" name="群組 49"/>
          <p:cNvGrpSpPr/>
          <p:nvPr userDrawn="1"/>
        </p:nvGrpSpPr>
        <p:grpSpPr>
          <a:xfrm>
            <a:off x="5113667" y="311082"/>
            <a:ext cx="625279" cy="205735"/>
            <a:chOff x="463716" y="867128"/>
            <a:chExt cx="1277166" cy="298647"/>
          </a:xfrm>
          <a:solidFill>
            <a:schemeClr val="tx1"/>
          </a:solidFill>
        </p:grpSpPr>
        <p:sp>
          <p:nvSpPr>
            <p:cNvPr id="51" name="Freeform 6"/>
            <p:cNvSpPr>
              <a:spLocks noEditPoints="1"/>
            </p:cNvSpPr>
            <p:nvPr/>
          </p:nvSpPr>
          <p:spPr bwMode="auto">
            <a:xfrm>
              <a:off x="463716" y="867128"/>
              <a:ext cx="287471" cy="296163"/>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dirty="0"/>
            </a:p>
          </p:txBody>
        </p:sp>
        <p:sp>
          <p:nvSpPr>
            <p:cNvPr id="52" name="Freeform 11"/>
            <p:cNvSpPr>
              <a:spLocks noEditPoints="1"/>
            </p:cNvSpPr>
            <p:nvPr/>
          </p:nvSpPr>
          <p:spPr bwMode="auto">
            <a:xfrm>
              <a:off x="790303" y="867128"/>
              <a:ext cx="297405" cy="298026"/>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53" name="Freeform 15"/>
            <p:cNvSpPr>
              <a:spLocks/>
            </p:cNvSpPr>
            <p:nvPr/>
          </p:nvSpPr>
          <p:spPr bwMode="auto">
            <a:xfrm>
              <a:off x="1119373" y="978267"/>
              <a:ext cx="283125" cy="187508"/>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4" name="Freeform 16"/>
            <p:cNvSpPr>
              <a:spLocks/>
            </p:cNvSpPr>
            <p:nvPr/>
          </p:nvSpPr>
          <p:spPr bwMode="auto">
            <a:xfrm>
              <a:off x="1286392" y="1022971"/>
              <a:ext cx="127903" cy="132249"/>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64" name="Freeform 18"/>
            <p:cNvSpPr>
              <a:spLocks noEditPoints="1"/>
            </p:cNvSpPr>
            <p:nvPr/>
          </p:nvSpPr>
          <p:spPr bwMode="auto">
            <a:xfrm>
              <a:off x="1134274" y="878925"/>
              <a:ext cx="263257" cy="93754"/>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65" name="Freeform 23"/>
            <p:cNvSpPr>
              <a:spLocks/>
            </p:cNvSpPr>
            <p:nvPr/>
          </p:nvSpPr>
          <p:spPr bwMode="auto">
            <a:xfrm>
              <a:off x="1547165" y="883271"/>
              <a:ext cx="177574" cy="26077"/>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66" name="Freeform 25"/>
            <p:cNvSpPr>
              <a:spLocks/>
            </p:cNvSpPr>
            <p:nvPr/>
          </p:nvSpPr>
          <p:spPr bwMode="auto">
            <a:xfrm>
              <a:off x="1534747" y="932321"/>
              <a:ext cx="206135" cy="29182"/>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67" name="Freeform 27"/>
            <p:cNvSpPr>
              <a:spLocks/>
            </p:cNvSpPr>
            <p:nvPr/>
          </p:nvSpPr>
          <p:spPr bwMode="auto">
            <a:xfrm>
              <a:off x="1444098" y="870232"/>
              <a:ext cx="91270" cy="294300"/>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68" name="Freeform 30"/>
            <p:cNvSpPr>
              <a:spLocks/>
            </p:cNvSpPr>
            <p:nvPr/>
          </p:nvSpPr>
          <p:spPr bwMode="auto">
            <a:xfrm>
              <a:off x="1544681" y="980751"/>
              <a:ext cx="182541" cy="26077"/>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69" name="Freeform 31"/>
            <p:cNvSpPr>
              <a:spLocks/>
            </p:cNvSpPr>
            <p:nvPr/>
          </p:nvSpPr>
          <p:spPr bwMode="auto">
            <a:xfrm>
              <a:off x="1544681" y="1025454"/>
              <a:ext cx="182541" cy="26698"/>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70" name="Freeform 33"/>
            <p:cNvSpPr>
              <a:spLocks noEditPoints="1"/>
            </p:cNvSpPr>
            <p:nvPr/>
          </p:nvSpPr>
          <p:spPr bwMode="auto">
            <a:xfrm>
              <a:off x="1547165" y="1072021"/>
              <a:ext cx="177574" cy="88787"/>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301202784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816"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內頁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230055" y="1279887"/>
            <a:ext cx="2714250" cy="1167977"/>
          </a:xfrm>
        </p:spPr>
        <p:txBody>
          <a:bodyPr>
            <a:noAutofit/>
          </a:bodyPr>
          <a:lstStyle>
            <a:lvl1pPr>
              <a:spcAft>
                <a:spcPts val="1334"/>
              </a:spcAft>
              <a:defRPr sz="1299" b="1">
                <a:solidFill>
                  <a:schemeClr val="accent1"/>
                </a:solidFill>
                <a:latin typeface="+mj-lt"/>
              </a:defRPr>
            </a:lvl1pPr>
            <a:lvl2pPr>
              <a:spcAft>
                <a:spcPts val="1334"/>
              </a:spcAft>
              <a:defRPr sz="1299">
                <a:latin typeface="+mj-lt"/>
              </a:defRPr>
            </a:lvl2pPr>
            <a:lvl3pPr marL="0" indent="0">
              <a:spcAft>
                <a:spcPts val="1334"/>
              </a:spcAft>
              <a:buNone/>
              <a:defRPr sz="1299">
                <a:latin typeface="+mj-lt"/>
              </a:defRPr>
            </a:lvl3pPr>
            <a:lvl4pPr marL="235197" indent="-235197">
              <a:spcAft>
                <a:spcPts val="1334"/>
              </a:spcAft>
              <a:buFont typeface="Arial" panose="020B0604020202020204" pitchFamily="34" charset="0"/>
              <a:buChar char="•"/>
              <a:defRPr sz="1299">
                <a:latin typeface="+mj-lt"/>
              </a:defRPr>
            </a:lvl4pPr>
            <a:lvl5pPr marL="475190" indent="-235197">
              <a:spcAft>
                <a:spcPts val="1334"/>
              </a:spcAft>
              <a:defRPr sz="1299" baseline="0">
                <a:latin typeface="+mj-lt"/>
              </a:defRPr>
            </a:lvl5pPr>
            <a:lvl6pPr marL="475190" indent="-235197">
              <a:spcAft>
                <a:spcPts val="1334"/>
              </a:spcAft>
              <a:buFont typeface="Verdana" panose="020B0604030504040204" pitchFamily="34" charset="0"/>
              <a:buChar char="−"/>
              <a:defRPr/>
            </a:lvl6pPr>
            <a:lvl7pPr marL="475190" indent="-235197">
              <a:spcAft>
                <a:spcPts val="1334"/>
              </a:spcAft>
              <a:defRPr/>
            </a:lvl7pPr>
            <a:lvl8pPr marL="475190" indent="-235197">
              <a:spcAft>
                <a:spcPts val="1334"/>
              </a:spcAft>
              <a:defRPr/>
            </a:lvl8pPr>
            <a:lvl9pPr marL="475190" indent="-235197">
              <a:spcAft>
                <a:spcPts val="1334"/>
              </a:spcAft>
              <a:defRPr/>
            </a:lvl9pPr>
          </a:lstStyle>
          <a:p>
            <a:pPr lvl="0"/>
            <a:r>
              <a:rPr lang="zh-TW" altLang="en-US" noProof="0" smtClean="0"/>
              <a:t>編輯母片文字樣式</a:t>
            </a:r>
          </a:p>
          <a:p>
            <a:pPr lvl="1"/>
            <a:r>
              <a:rPr lang="zh-TW" altLang="en-US" noProof="0" smtClean="0"/>
              <a:t>第二層</a:t>
            </a:r>
          </a:p>
          <a:p>
            <a:pPr lvl="2"/>
            <a:r>
              <a:rPr lang="zh-TW" altLang="en-US" noProof="0" smtClean="0"/>
              <a:t>第三層</a:t>
            </a:r>
          </a:p>
          <a:p>
            <a:pPr lvl="3"/>
            <a:r>
              <a:rPr lang="zh-TW" altLang="en-US" noProof="0" smtClean="0"/>
              <a:t>第四層</a:t>
            </a:r>
          </a:p>
          <a:p>
            <a:pPr lvl="4"/>
            <a:r>
              <a:rPr lang="zh-TW" altLang="en-US" noProof="0" smtClean="0"/>
              <a:t>第五層</a:t>
            </a:r>
            <a:endParaRPr lang="en-US" noProof="0" dirty="0"/>
          </a:p>
        </p:txBody>
      </p:sp>
      <p:sp>
        <p:nvSpPr>
          <p:cNvPr id="9" name="Text Placeholder 8"/>
          <p:cNvSpPr>
            <a:spLocks noGrp="1"/>
          </p:cNvSpPr>
          <p:nvPr>
            <p:ph type="body" sz="quarter" idx="21"/>
          </p:nvPr>
        </p:nvSpPr>
        <p:spPr>
          <a:xfrm>
            <a:off x="3024383" y="1279887"/>
            <a:ext cx="2714250" cy="1167977"/>
          </a:xfrm>
        </p:spPr>
        <p:txBody>
          <a:bodyPr>
            <a:noAutofit/>
          </a:bodyPr>
          <a:lstStyle>
            <a:lvl1pPr>
              <a:spcAft>
                <a:spcPts val="1334"/>
              </a:spcAft>
              <a:defRPr sz="1299" b="1">
                <a:solidFill>
                  <a:schemeClr val="accent1"/>
                </a:solidFill>
                <a:latin typeface="+mn-lt"/>
              </a:defRPr>
            </a:lvl1pPr>
            <a:lvl2pPr>
              <a:spcAft>
                <a:spcPts val="1334"/>
              </a:spcAft>
              <a:defRPr sz="1299">
                <a:latin typeface="+mn-lt"/>
              </a:defRPr>
            </a:lvl2pPr>
            <a:lvl3pPr marL="0" indent="0">
              <a:spcAft>
                <a:spcPts val="1334"/>
              </a:spcAft>
              <a:buNone/>
              <a:defRPr sz="1299">
                <a:latin typeface="+mn-lt"/>
              </a:defRPr>
            </a:lvl3pPr>
            <a:lvl4pPr marL="235197" indent="-235197">
              <a:spcAft>
                <a:spcPts val="1334"/>
              </a:spcAft>
              <a:buFont typeface="Arial" panose="020B0604020202020204" pitchFamily="34" charset="0"/>
              <a:buChar char="•"/>
              <a:defRPr sz="1299">
                <a:latin typeface="+mn-lt"/>
              </a:defRPr>
            </a:lvl4pPr>
            <a:lvl5pPr marL="475190" indent="-235197">
              <a:spcAft>
                <a:spcPts val="1334"/>
              </a:spcAft>
              <a:defRPr sz="1299" baseline="0">
                <a:latin typeface="+mn-lt"/>
              </a:defRPr>
            </a:lvl5pPr>
            <a:lvl6pPr marL="475190" indent="-235197">
              <a:spcAft>
                <a:spcPts val="1334"/>
              </a:spcAft>
              <a:buFont typeface="Verdana" panose="020B0604030504040204" pitchFamily="34" charset="0"/>
              <a:buChar char="−"/>
              <a:defRPr/>
            </a:lvl6pPr>
            <a:lvl7pPr marL="475190" indent="-235197">
              <a:spcAft>
                <a:spcPts val="1334"/>
              </a:spcAft>
              <a:defRPr/>
            </a:lvl7pPr>
            <a:lvl8pPr marL="475190" indent="-235197">
              <a:spcAft>
                <a:spcPts val="1334"/>
              </a:spcAft>
              <a:defRPr/>
            </a:lvl8pPr>
            <a:lvl9pPr marL="475190" indent="-235197">
              <a:spcAft>
                <a:spcPts val="1334"/>
              </a:spcAft>
              <a:defRPr/>
            </a:lvl9pPr>
          </a:lstStyle>
          <a:p>
            <a:pPr lvl="0"/>
            <a:r>
              <a:rPr lang="zh-TW" altLang="en-US" noProof="0" smtClean="0"/>
              <a:t>編輯母片文字樣式</a:t>
            </a:r>
          </a:p>
          <a:p>
            <a:pPr lvl="1"/>
            <a:r>
              <a:rPr lang="zh-TW" altLang="en-US" noProof="0" smtClean="0"/>
              <a:t>第二層</a:t>
            </a:r>
          </a:p>
          <a:p>
            <a:pPr lvl="2"/>
            <a:r>
              <a:rPr lang="zh-TW" altLang="en-US" noProof="0" smtClean="0"/>
              <a:t>第三層</a:t>
            </a:r>
          </a:p>
          <a:p>
            <a:pPr lvl="3"/>
            <a:r>
              <a:rPr lang="zh-TW" altLang="en-US" noProof="0" smtClean="0"/>
              <a:t>第四層</a:t>
            </a:r>
          </a:p>
          <a:p>
            <a:pPr lvl="4"/>
            <a:r>
              <a:rPr lang="zh-TW" altLang="en-US" noProof="0" smtClean="0"/>
              <a:t>第五層</a:t>
            </a:r>
            <a:endParaRPr lang="en-US" noProof="0" dirty="0"/>
          </a:p>
        </p:txBody>
      </p:sp>
      <p:sp>
        <p:nvSpPr>
          <p:cNvPr id="4" name="Rectangle 3"/>
          <p:cNvSpPr/>
          <p:nvPr userDrawn="1"/>
        </p:nvSpPr>
        <p:spPr>
          <a:xfrm>
            <a:off x="230055" y="1174818"/>
            <a:ext cx="2714250" cy="365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4"/>
              </a:spcAft>
            </a:pPr>
            <a:endParaRPr lang="en-US" sz="1467" noProof="0" dirty="0">
              <a:solidFill>
                <a:schemeClr val="bg1"/>
              </a:solidFill>
            </a:endParaRPr>
          </a:p>
        </p:txBody>
      </p:sp>
      <p:sp>
        <p:nvSpPr>
          <p:cNvPr id="5" name="Rectangle 4"/>
          <p:cNvSpPr/>
          <p:nvPr userDrawn="1"/>
        </p:nvSpPr>
        <p:spPr>
          <a:xfrm>
            <a:off x="3019650" y="1174818"/>
            <a:ext cx="2714250" cy="365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4"/>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5124783" y="1279887"/>
            <a:ext cx="609120" cy="378389"/>
          </a:xfrm>
        </p:spPr>
        <p:txBody>
          <a:bodyPr>
            <a:noAutofit/>
          </a:bodyPr>
          <a:lstStyle>
            <a:lvl1pPr marL="0" marR="0" indent="0" algn="l" defTabSz="1219179" rtl="0" eaLnBrk="1" fontAlgn="auto" latinLnBrk="0" hangingPunct="1">
              <a:lnSpc>
                <a:spcPct val="100000"/>
              </a:lnSpc>
              <a:spcBef>
                <a:spcPts val="0"/>
              </a:spcBef>
              <a:spcAft>
                <a:spcPts val="1334"/>
              </a:spcAft>
              <a:buClrTx/>
              <a:buSzTx/>
              <a:buFont typeface="Arial" panose="020B0604020202020204" pitchFamily="34" charset="0"/>
              <a:buNone/>
              <a:tabLst/>
              <a:defRPr sz="1201"/>
            </a:lvl1pPr>
          </a:lstStyle>
          <a:p>
            <a:pPr>
              <a:spcBef>
                <a:spcPct val="0"/>
              </a:spcBef>
            </a:pPr>
            <a:r>
              <a:rPr lang="en-US" sz="1599" noProof="0" dirty="0">
                <a:solidFill>
                  <a:schemeClr val="bg1"/>
                </a:solidFill>
              </a:rPr>
              <a:t>Co-brand</a:t>
            </a:r>
            <a:br>
              <a:rPr lang="en-US" sz="1599" noProof="0" dirty="0">
                <a:solidFill>
                  <a:schemeClr val="bg1"/>
                </a:solidFill>
              </a:rPr>
            </a:br>
            <a:r>
              <a:rPr lang="en-US" sz="1599"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230055" y="2927563"/>
            <a:ext cx="2714250" cy="1167977"/>
          </a:xfrm>
        </p:spPr>
        <p:txBody>
          <a:bodyPr>
            <a:noAutofit/>
          </a:bodyPr>
          <a:lstStyle>
            <a:lvl1pPr>
              <a:spcAft>
                <a:spcPts val="1334"/>
              </a:spcAft>
              <a:defRPr sz="1299" b="1">
                <a:solidFill>
                  <a:schemeClr val="accent1"/>
                </a:solidFill>
                <a:latin typeface="+mn-lt"/>
              </a:defRPr>
            </a:lvl1pPr>
            <a:lvl2pPr>
              <a:spcAft>
                <a:spcPts val="1334"/>
              </a:spcAft>
              <a:defRPr sz="1299">
                <a:latin typeface="+mn-lt"/>
              </a:defRPr>
            </a:lvl2pPr>
            <a:lvl3pPr marL="0" indent="0">
              <a:spcAft>
                <a:spcPts val="1334"/>
              </a:spcAft>
              <a:buNone/>
              <a:defRPr sz="1299">
                <a:latin typeface="+mn-lt"/>
              </a:defRPr>
            </a:lvl3pPr>
            <a:lvl4pPr marL="235197" indent="-235197">
              <a:spcAft>
                <a:spcPts val="1334"/>
              </a:spcAft>
              <a:buFont typeface="Arial" panose="020B0604020202020204" pitchFamily="34" charset="0"/>
              <a:buChar char="•"/>
              <a:defRPr sz="1299">
                <a:latin typeface="+mn-lt"/>
              </a:defRPr>
            </a:lvl4pPr>
            <a:lvl5pPr marL="475190" indent="-235197">
              <a:spcAft>
                <a:spcPts val="1334"/>
              </a:spcAft>
              <a:defRPr sz="1299" baseline="0">
                <a:latin typeface="+mn-lt"/>
              </a:defRPr>
            </a:lvl5pPr>
            <a:lvl6pPr marL="475190" indent="-235197">
              <a:spcAft>
                <a:spcPts val="1334"/>
              </a:spcAft>
              <a:buFont typeface="Verdana" panose="020B0604030504040204" pitchFamily="34" charset="0"/>
              <a:buChar char="−"/>
              <a:defRPr/>
            </a:lvl6pPr>
            <a:lvl7pPr marL="475190" indent="-235197">
              <a:spcAft>
                <a:spcPts val="1334"/>
              </a:spcAft>
              <a:defRPr/>
            </a:lvl7pPr>
            <a:lvl8pPr marL="475190" indent="-235197">
              <a:spcAft>
                <a:spcPts val="1334"/>
              </a:spcAft>
              <a:defRPr/>
            </a:lvl8pPr>
            <a:lvl9pPr marL="475190" indent="-235197">
              <a:spcAft>
                <a:spcPts val="1334"/>
              </a:spcAft>
              <a:defRPr/>
            </a:lvl9pPr>
          </a:lstStyle>
          <a:p>
            <a:pPr lvl="0"/>
            <a:r>
              <a:rPr lang="zh-TW" altLang="en-US" noProof="0" smtClean="0"/>
              <a:t>編輯母片文字樣式</a:t>
            </a:r>
          </a:p>
          <a:p>
            <a:pPr lvl="1"/>
            <a:r>
              <a:rPr lang="zh-TW" altLang="en-US" noProof="0" smtClean="0"/>
              <a:t>第二層</a:t>
            </a:r>
          </a:p>
          <a:p>
            <a:pPr lvl="2"/>
            <a:r>
              <a:rPr lang="zh-TW" altLang="en-US" noProof="0" smtClean="0"/>
              <a:t>第三層</a:t>
            </a:r>
          </a:p>
          <a:p>
            <a:pPr lvl="3"/>
            <a:r>
              <a:rPr lang="zh-TW" altLang="en-US" noProof="0" smtClean="0"/>
              <a:t>第四層</a:t>
            </a:r>
          </a:p>
          <a:p>
            <a:pPr lvl="4"/>
            <a:r>
              <a:rPr lang="zh-TW" altLang="en-US" noProof="0" smtClean="0"/>
              <a:t>第五層</a:t>
            </a:r>
            <a:endParaRPr lang="en-US" noProof="0" dirty="0"/>
          </a:p>
        </p:txBody>
      </p:sp>
      <p:sp>
        <p:nvSpPr>
          <p:cNvPr id="11" name="Text Placeholder 8"/>
          <p:cNvSpPr>
            <a:spLocks noGrp="1"/>
          </p:cNvSpPr>
          <p:nvPr>
            <p:ph type="body" sz="quarter" idx="23"/>
          </p:nvPr>
        </p:nvSpPr>
        <p:spPr>
          <a:xfrm>
            <a:off x="3024381" y="2927563"/>
            <a:ext cx="2714250" cy="1167977"/>
          </a:xfrm>
        </p:spPr>
        <p:txBody>
          <a:bodyPr>
            <a:noAutofit/>
          </a:bodyPr>
          <a:lstStyle>
            <a:lvl1pPr>
              <a:spcAft>
                <a:spcPts val="1334"/>
              </a:spcAft>
              <a:defRPr sz="1299" b="1">
                <a:solidFill>
                  <a:schemeClr val="accent1"/>
                </a:solidFill>
                <a:latin typeface="+mn-lt"/>
              </a:defRPr>
            </a:lvl1pPr>
            <a:lvl2pPr>
              <a:spcAft>
                <a:spcPts val="1334"/>
              </a:spcAft>
              <a:defRPr sz="1299">
                <a:latin typeface="+mn-lt"/>
              </a:defRPr>
            </a:lvl2pPr>
            <a:lvl3pPr marL="0" indent="0">
              <a:spcAft>
                <a:spcPts val="1334"/>
              </a:spcAft>
              <a:buNone/>
              <a:defRPr sz="1299">
                <a:latin typeface="+mn-lt"/>
              </a:defRPr>
            </a:lvl3pPr>
            <a:lvl4pPr marL="235197" indent="-235197">
              <a:spcAft>
                <a:spcPts val="1334"/>
              </a:spcAft>
              <a:buFont typeface="Arial" panose="020B0604020202020204" pitchFamily="34" charset="0"/>
              <a:buChar char="•"/>
              <a:defRPr sz="1299">
                <a:latin typeface="+mn-lt"/>
              </a:defRPr>
            </a:lvl4pPr>
            <a:lvl5pPr marL="475190" indent="-235197">
              <a:spcAft>
                <a:spcPts val="1334"/>
              </a:spcAft>
              <a:defRPr sz="1299" baseline="0">
                <a:latin typeface="+mn-lt"/>
              </a:defRPr>
            </a:lvl5pPr>
            <a:lvl6pPr marL="475190" indent="-235197">
              <a:spcAft>
                <a:spcPts val="1334"/>
              </a:spcAft>
              <a:buFont typeface="Verdana" panose="020B0604030504040204" pitchFamily="34" charset="0"/>
              <a:buChar char="−"/>
              <a:defRPr/>
            </a:lvl6pPr>
            <a:lvl7pPr marL="475190" indent="-235197">
              <a:spcAft>
                <a:spcPts val="1334"/>
              </a:spcAft>
              <a:defRPr/>
            </a:lvl7pPr>
            <a:lvl8pPr marL="475190" indent="-235197">
              <a:spcAft>
                <a:spcPts val="1334"/>
              </a:spcAft>
              <a:defRPr/>
            </a:lvl8pPr>
            <a:lvl9pPr marL="475190" indent="-235197">
              <a:spcAft>
                <a:spcPts val="1334"/>
              </a:spcAft>
              <a:defRPr/>
            </a:lvl9pPr>
          </a:lstStyle>
          <a:p>
            <a:pPr lvl="0"/>
            <a:r>
              <a:rPr lang="zh-TW" altLang="en-US" noProof="0" smtClean="0"/>
              <a:t>編輯母片文字樣式</a:t>
            </a:r>
          </a:p>
          <a:p>
            <a:pPr lvl="1"/>
            <a:r>
              <a:rPr lang="zh-TW" altLang="en-US" noProof="0" smtClean="0"/>
              <a:t>第二層</a:t>
            </a:r>
          </a:p>
          <a:p>
            <a:pPr lvl="2"/>
            <a:r>
              <a:rPr lang="zh-TW" altLang="en-US" noProof="0" smtClean="0"/>
              <a:t>第三層</a:t>
            </a:r>
          </a:p>
          <a:p>
            <a:pPr lvl="3"/>
            <a:r>
              <a:rPr lang="zh-TW" altLang="en-US" noProof="0" smtClean="0"/>
              <a:t>第四層</a:t>
            </a:r>
          </a:p>
          <a:p>
            <a:pPr lvl="4"/>
            <a:r>
              <a:rPr lang="zh-TW" altLang="en-US" noProof="0" smtClean="0"/>
              <a:t>第五層</a:t>
            </a:r>
            <a:endParaRPr lang="en-US" noProof="0" dirty="0"/>
          </a:p>
        </p:txBody>
      </p:sp>
      <p:sp>
        <p:nvSpPr>
          <p:cNvPr id="12" name="Rectangle 11"/>
          <p:cNvSpPr/>
          <p:nvPr userDrawn="1"/>
        </p:nvSpPr>
        <p:spPr>
          <a:xfrm>
            <a:off x="230055" y="2826869"/>
            <a:ext cx="2714250" cy="37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4"/>
              </a:spcAft>
            </a:pPr>
            <a:endParaRPr lang="en-US" sz="1467" noProof="0" dirty="0">
              <a:solidFill>
                <a:schemeClr val="bg1"/>
              </a:solidFill>
            </a:endParaRPr>
          </a:p>
        </p:txBody>
      </p:sp>
      <p:sp>
        <p:nvSpPr>
          <p:cNvPr id="13" name="Rectangle 12"/>
          <p:cNvSpPr/>
          <p:nvPr userDrawn="1"/>
        </p:nvSpPr>
        <p:spPr>
          <a:xfrm>
            <a:off x="3019650" y="2826869"/>
            <a:ext cx="2714250" cy="37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4"/>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2301256" y="2927565"/>
            <a:ext cx="624178" cy="378389"/>
          </a:xfrm>
        </p:spPr>
        <p:txBody>
          <a:bodyPr>
            <a:noAutofit/>
          </a:bodyPr>
          <a:lstStyle>
            <a:lvl1pPr marL="0" marR="0" indent="0" algn="l" defTabSz="1219179" rtl="0" eaLnBrk="1" fontAlgn="auto" latinLnBrk="0" hangingPunct="1">
              <a:lnSpc>
                <a:spcPct val="100000"/>
              </a:lnSpc>
              <a:spcBef>
                <a:spcPts val="0"/>
              </a:spcBef>
              <a:spcAft>
                <a:spcPts val="1334"/>
              </a:spcAft>
              <a:buClrTx/>
              <a:buSzTx/>
              <a:buFont typeface="Arial" panose="020B0604020202020204" pitchFamily="34" charset="0"/>
              <a:buNone/>
              <a:tabLst/>
              <a:defRPr sz="1201"/>
            </a:lvl1pPr>
          </a:lstStyle>
          <a:p>
            <a:pPr>
              <a:spcBef>
                <a:spcPct val="0"/>
              </a:spcBef>
            </a:pPr>
            <a:r>
              <a:rPr lang="en-US" sz="1599" noProof="0" dirty="0">
                <a:solidFill>
                  <a:schemeClr val="bg1"/>
                </a:solidFill>
              </a:rPr>
              <a:t>Co-brand</a:t>
            </a:r>
            <a:br>
              <a:rPr lang="en-US" sz="1599" noProof="0" dirty="0">
                <a:solidFill>
                  <a:schemeClr val="bg1"/>
                </a:solidFill>
              </a:rPr>
            </a:br>
            <a:r>
              <a:rPr lang="en-US" sz="1599"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5120570" y="2926549"/>
            <a:ext cx="609120" cy="378389"/>
          </a:xfrm>
        </p:spPr>
        <p:txBody>
          <a:bodyPr>
            <a:noAutofit/>
          </a:bodyPr>
          <a:lstStyle>
            <a:lvl1pPr marL="0" marR="0" indent="0" algn="l" defTabSz="1219179" rtl="0" eaLnBrk="1" fontAlgn="auto" latinLnBrk="0" hangingPunct="1">
              <a:lnSpc>
                <a:spcPct val="100000"/>
              </a:lnSpc>
              <a:spcBef>
                <a:spcPts val="0"/>
              </a:spcBef>
              <a:spcAft>
                <a:spcPts val="1334"/>
              </a:spcAft>
              <a:buClrTx/>
              <a:buSzTx/>
              <a:buFont typeface="Arial" panose="020B0604020202020204" pitchFamily="34" charset="0"/>
              <a:buNone/>
              <a:tabLst/>
              <a:defRPr sz="1201"/>
            </a:lvl1pPr>
          </a:lstStyle>
          <a:p>
            <a:pPr>
              <a:spcBef>
                <a:spcPct val="0"/>
              </a:spcBef>
            </a:pPr>
            <a:r>
              <a:rPr lang="en-US" sz="1599" noProof="0" dirty="0">
                <a:solidFill>
                  <a:schemeClr val="bg1"/>
                </a:solidFill>
              </a:rPr>
              <a:t>Co-brand</a:t>
            </a:r>
            <a:br>
              <a:rPr lang="en-US" sz="1599" noProof="0" dirty="0">
                <a:solidFill>
                  <a:schemeClr val="bg1"/>
                </a:solidFill>
              </a:rPr>
            </a:br>
            <a:r>
              <a:rPr lang="en-US" sz="1599"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2318078" y="1284036"/>
            <a:ext cx="609486" cy="378389"/>
          </a:xfrm>
        </p:spPr>
        <p:txBody>
          <a:bodyPr>
            <a:noAutofit/>
          </a:bodyPr>
          <a:lstStyle>
            <a:lvl1pPr marL="0" marR="0" indent="0" algn="l" defTabSz="1219179" rtl="0" eaLnBrk="1" fontAlgn="auto" latinLnBrk="0" hangingPunct="1">
              <a:lnSpc>
                <a:spcPct val="100000"/>
              </a:lnSpc>
              <a:spcBef>
                <a:spcPts val="0"/>
              </a:spcBef>
              <a:spcAft>
                <a:spcPts val="1334"/>
              </a:spcAft>
              <a:buClrTx/>
              <a:buSzTx/>
              <a:buFont typeface="Arial" panose="020B0604020202020204" pitchFamily="34" charset="0"/>
              <a:buNone/>
              <a:tabLst/>
              <a:defRPr sz="1201"/>
            </a:lvl1pPr>
          </a:lstStyle>
          <a:p>
            <a:pPr>
              <a:spcBef>
                <a:spcPct val="0"/>
              </a:spcBef>
            </a:pPr>
            <a:r>
              <a:rPr lang="en-US" sz="1599" noProof="0" dirty="0">
                <a:solidFill>
                  <a:schemeClr val="bg1"/>
                </a:solidFill>
              </a:rPr>
              <a:t>Co-brand</a:t>
            </a:r>
            <a:br>
              <a:rPr lang="en-US" sz="1599" noProof="0" dirty="0">
                <a:solidFill>
                  <a:schemeClr val="bg1"/>
                </a:solidFill>
              </a:rPr>
            </a:br>
            <a:r>
              <a:rPr lang="en-US" sz="1599"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230055" y="507500"/>
            <a:ext cx="5508890" cy="521665"/>
          </a:xfrm>
          <a:prstGeom prst="rect">
            <a:avLst/>
          </a:prstGeom>
        </p:spPr>
        <p:txBody>
          <a:bodyPr lIns="0" tIns="0" rIns="0" bIns="0">
            <a:noAutofit/>
          </a:bodyPr>
          <a:lstStyle>
            <a:lvl1pPr marL="0" indent="0">
              <a:buNone/>
              <a:defRPr sz="2100" b="0">
                <a:solidFill>
                  <a:srgbClr val="575757"/>
                </a:solidFill>
                <a:latin typeface="Calibri" panose="020F0502020204030204" pitchFamily="34" charset="0"/>
                <a:cs typeface="Calibri" panose="020F0502020204030204" pitchFamily="34" charset="0"/>
              </a:defRPr>
            </a:lvl1pPr>
          </a:lstStyle>
          <a:p>
            <a:pPr lvl="0"/>
            <a:r>
              <a:rPr lang="en-US" noProof="0" dirty="0"/>
              <a:t>Click to add subtitle</a:t>
            </a:r>
          </a:p>
        </p:txBody>
      </p:sp>
      <p:sp>
        <p:nvSpPr>
          <p:cNvPr id="19" name="Title Placeholder 1"/>
          <p:cNvSpPr>
            <a:spLocks noGrp="1"/>
          </p:cNvSpPr>
          <p:nvPr>
            <p:ph type="title"/>
          </p:nvPr>
        </p:nvSpPr>
        <p:spPr>
          <a:xfrm>
            <a:off x="230055" y="277338"/>
            <a:ext cx="5508890" cy="230159"/>
          </a:xfrm>
          <a:prstGeom prst="rect">
            <a:avLst/>
          </a:prstGeom>
        </p:spPr>
        <p:txBody>
          <a:bodyPr vert="horz" lIns="0" tIns="0" rIns="0" bIns="0" rtlCol="0" anchor="t" anchorCtr="0">
            <a:noAutofit/>
          </a:bodyPr>
          <a:lstStyle>
            <a:lvl1pPr>
              <a:defRPr sz="2100"/>
            </a:lvl1pPr>
          </a:lstStyle>
          <a:p>
            <a:r>
              <a:rPr lang="zh-TW" altLang="en-US" noProof="0" smtClean="0"/>
              <a:t>按一下以編輯母片標題樣式</a:t>
            </a:r>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內頁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230057" y="1760800"/>
            <a:ext cx="1269000" cy="2338640"/>
          </a:xfrm>
        </p:spPr>
        <p:txBody>
          <a:bodyPr/>
          <a:lstStyle>
            <a:lvl1pPr>
              <a:defRPr sz="1299" b="1">
                <a:solidFill>
                  <a:schemeClr val="bg1"/>
                </a:solidFill>
                <a:latin typeface="+mn-lt"/>
              </a:defRPr>
            </a:lvl1pPr>
            <a:lvl2pPr>
              <a:spcAft>
                <a:spcPts val="1334"/>
              </a:spcAft>
              <a:defRPr sz="1299">
                <a:solidFill>
                  <a:schemeClr val="bg1"/>
                </a:solidFill>
                <a:latin typeface="+mn-lt"/>
              </a:defRPr>
            </a:lvl2pPr>
            <a:lvl3pPr marL="0" indent="0">
              <a:spcAft>
                <a:spcPts val="1334"/>
              </a:spcAft>
              <a:buNone/>
              <a:defRPr sz="1299">
                <a:solidFill>
                  <a:schemeClr val="bg1"/>
                </a:solidFill>
                <a:latin typeface="+mn-lt"/>
              </a:defRPr>
            </a:lvl3pPr>
            <a:lvl4pPr marL="235197" indent="-235197">
              <a:spcAft>
                <a:spcPts val="1334"/>
              </a:spcAft>
              <a:buFont typeface="Arial" panose="020B0604020202020204" pitchFamily="34" charset="0"/>
              <a:buChar char="•"/>
              <a:defRPr sz="1299">
                <a:solidFill>
                  <a:schemeClr val="bg1"/>
                </a:solidFill>
                <a:latin typeface="+mn-lt"/>
              </a:defRPr>
            </a:lvl4pPr>
            <a:lvl5pPr marL="475190" indent="-235197">
              <a:spcAft>
                <a:spcPts val="1334"/>
              </a:spcAft>
              <a:defRPr sz="1299" baseline="0">
                <a:solidFill>
                  <a:schemeClr val="bg1"/>
                </a:solidFill>
                <a:latin typeface="+mn-lt"/>
              </a:defRPr>
            </a:lvl5pPr>
            <a:lvl6pPr marL="475190" indent="-235197">
              <a:spcAft>
                <a:spcPts val="1334"/>
              </a:spcAft>
              <a:buFont typeface="Verdana" panose="020B0604030504040204" pitchFamily="34" charset="0"/>
              <a:buChar char="−"/>
              <a:defRPr>
                <a:solidFill>
                  <a:schemeClr val="bg1"/>
                </a:solidFill>
              </a:defRPr>
            </a:lvl6pPr>
            <a:lvl7pPr marL="475190" indent="-235197">
              <a:spcAft>
                <a:spcPts val="1334"/>
              </a:spcAft>
              <a:defRPr>
                <a:solidFill>
                  <a:schemeClr val="bg1"/>
                </a:solidFill>
              </a:defRPr>
            </a:lvl7pPr>
            <a:lvl8pPr marL="475190" indent="-235197">
              <a:spcAft>
                <a:spcPts val="1334"/>
              </a:spcAft>
              <a:defRPr>
                <a:solidFill>
                  <a:schemeClr val="bg1"/>
                </a:solidFill>
              </a:defRPr>
            </a:lvl8pPr>
            <a:lvl9pPr marL="475190" indent="-235197">
              <a:spcAft>
                <a:spcPts val="1334"/>
              </a:spcAft>
              <a:defRPr>
                <a:solidFill>
                  <a:schemeClr val="bg1"/>
                </a:solidFill>
              </a:defRPr>
            </a:lvl9pPr>
          </a:lstStyle>
          <a:p>
            <a:pPr lvl="0"/>
            <a:r>
              <a:rPr lang="zh-TW" altLang="en-US" noProof="0" smtClean="0"/>
              <a:t>編輯母片文字樣式</a:t>
            </a:r>
          </a:p>
          <a:p>
            <a:pPr lvl="1"/>
            <a:r>
              <a:rPr lang="zh-TW" altLang="en-US" noProof="0" smtClean="0"/>
              <a:t>第二層</a:t>
            </a:r>
          </a:p>
          <a:p>
            <a:pPr lvl="2"/>
            <a:r>
              <a:rPr lang="zh-TW" altLang="en-US" noProof="0" smtClean="0"/>
              <a:t>第三層</a:t>
            </a:r>
          </a:p>
          <a:p>
            <a:pPr lvl="3"/>
            <a:r>
              <a:rPr lang="zh-TW" altLang="en-US" noProof="0" smtClean="0"/>
              <a:t>第四層</a:t>
            </a:r>
          </a:p>
          <a:p>
            <a:pPr lvl="4"/>
            <a:r>
              <a:rPr lang="zh-TW" altLang="en-US" noProof="0" smtClean="0"/>
              <a:t>第五層</a:t>
            </a:r>
            <a:endParaRPr lang="en-US" noProof="0" dirty="0"/>
          </a:p>
        </p:txBody>
      </p:sp>
      <p:sp>
        <p:nvSpPr>
          <p:cNvPr id="5" name="Text Placeholder 8"/>
          <p:cNvSpPr>
            <a:spLocks noGrp="1"/>
          </p:cNvSpPr>
          <p:nvPr>
            <p:ph type="body" sz="quarter" idx="18"/>
          </p:nvPr>
        </p:nvSpPr>
        <p:spPr>
          <a:xfrm>
            <a:off x="4469945" y="1760800"/>
            <a:ext cx="1269000" cy="2338640"/>
          </a:xfrm>
        </p:spPr>
        <p:txBody>
          <a:bodyPr/>
          <a:lstStyle>
            <a:lvl1pPr>
              <a:defRPr sz="1299" b="1">
                <a:solidFill>
                  <a:schemeClr val="bg1"/>
                </a:solidFill>
                <a:latin typeface="+mn-lt"/>
              </a:defRPr>
            </a:lvl1pPr>
            <a:lvl2pPr>
              <a:spcAft>
                <a:spcPts val="1334"/>
              </a:spcAft>
              <a:defRPr sz="1299">
                <a:solidFill>
                  <a:schemeClr val="bg1"/>
                </a:solidFill>
                <a:latin typeface="+mn-lt"/>
              </a:defRPr>
            </a:lvl2pPr>
            <a:lvl3pPr marL="0" indent="0">
              <a:spcAft>
                <a:spcPts val="1334"/>
              </a:spcAft>
              <a:buNone/>
              <a:defRPr sz="1299">
                <a:solidFill>
                  <a:schemeClr val="bg1"/>
                </a:solidFill>
                <a:latin typeface="+mn-lt"/>
              </a:defRPr>
            </a:lvl3pPr>
            <a:lvl4pPr marL="235197" indent="-235197">
              <a:spcAft>
                <a:spcPts val="1334"/>
              </a:spcAft>
              <a:buFont typeface="Arial" panose="020B0604020202020204" pitchFamily="34" charset="0"/>
              <a:buChar char="•"/>
              <a:defRPr sz="1299">
                <a:solidFill>
                  <a:schemeClr val="bg1"/>
                </a:solidFill>
                <a:latin typeface="+mn-lt"/>
              </a:defRPr>
            </a:lvl4pPr>
            <a:lvl5pPr marL="475190" indent="-235197">
              <a:spcAft>
                <a:spcPts val="1334"/>
              </a:spcAft>
              <a:defRPr sz="1299" baseline="0">
                <a:solidFill>
                  <a:schemeClr val="bg1"/>
                </a:solidFill>
                <a:latin typeface="+mn-lt"/>
              </a:defRPr>
            </a:lvl5pPr>
            <a:lvl6pPr marL="475190" indent="-235197">
              <a:spcAft>
                <a:spcPts val="1334"/>
              </a:spcAft>
              <a:buFont typeface="Verdana" panose="020B0604030504040204" pitchFamily="34" charset="0"/>
              <a:buChar char="−"/>
              <a:defRPr>
                <a:solidFill>
                  <a:schemeClr val="bg1"/>
                </a:solidFill>
              </a:defRPr>
            </a:lvl6pPr>
            <a:lvl7pPr marL="475190" indent="-235197">
              <a:spcAft>
                <a:spcPts val="1334"/>
              </a:spcAft>
              <a:defRPr>
                <a:solidFill>
                  <a:schemeClr val="bg1"/>
                </a:solidFill>
              </a:defRPr>
            </a:lvl7pPr>
            <a:lvl8pPr marL="475190" indent="-235197">
              <a:spcAft>
                <a:spcPts val="1334"/>
              </a:spcAft>
              <a:defRPr>
                <a:solidFill>
                  <a:schemeClr val="bg1"/>
                </a:solidFill>
              </a:defRPr>
            </a:lvl8pPr>
            <a:lvl9pPr marL="475190" indent="-235197">
              <a:spcAft>
                <a:spcPts val="1334"/>
              </a:spcAft>
              <a:defRPr>
                <a:solidFill>
                  <a:schemeClr val="bg1"/>
                </a:solidFill>
              </a:defRPr>
            </a:lvl9pPr>
          </a:lstStyle>
          <a:p>
            <a:pPr lvl="0"/>
            <a:r>
              <a:rPr lang="zh-TW" altLang="en-US" noProof="0" smtClean="0"/>
              <a:t>編輯母片文字樣式</a:t>
            </a:r>
          </a:p>
          <a:p>
            <a:pPr lvl="1"/>
            <a:r>
              <a:rPr lang="zh-TW" altLang="en-US" noProof="0" smtClean="0"/>
              <a:t>第二層</a:t>
            </a:r>
          </a:p>
          <a:p>
            <a:pPr lvl="2"/>
            <a:r>
              <a:rPr lang="zh-TW" altLang="en-US" noProof="0" smtClean="0"/>
              <a:t>第三層</a:t>
            </a:r>
          </a:p>
          <a:p>
            <a:pPr lvl="3"/>
            <a:r>
              <a:rPr lang="zh-TW" altLang="en-US" noProof="0" smtClean="0"/>
              <a:t>第四層</a:t>
            </a:r>
          </a:p>
          <a:p>
            <a:pPr lvl="4"/>
            <a:r>
              <a:rPr lang="zh-TW" altLang="en-US" noProof="0" smtClean="0"/>
              <a:t>第五層</a:t>
            </a:r>
            <a:endParaRPr lang="en-US" noProof="0" dirty="0"/>
          </a:p>
        </p:txBody>
      </p:sp>
      <p:sp>
        <p:nvSpPr>
          <p:cNvPr id="6" name="Text Placeholder 8"/>
          <p:cNvSpPr>
            <a:spLocks noGrp="1"/>
          </p:cNvSpPr>
          <p:nvPr>
            <p:ph type="body" sz="quarter" idx="19"/>
          </p:nvPr>
        </p:nvSpPr>
        <p:spPr>
          <a:xfrm>
            <a:off x="1643353" y="1760800"/>
            <a:ext cx="1269000" cy="2338640"/>
          </a:xfrm>
        </p:spPr>
        <p:txBody>
          <a:bodyPr/>
          <a:lstStyle>
            <a:lvl1pPr>
              <a:defRPr sz="1299" b="1">
                <a:solidFill>
                  <a:schemeClr val="bg1"/>
                </a:solidFill>
                <a:latin typeface="+mn-lt"/>
              </a:defRPr>
            </a:lvl1pPr>
            <a:lvl2pPr>
              <a:spcAft>
                <a:spcPts val="1334"/>
              </a:spcAft>
              <a:defRPr sz="1299">
                <a:solidFill>
                  <a:schemeClr val="bg1"/>
                </a:solidFill>
                <a:latin typeface="+mn-lt"/>
              </a:defRPr>
            </a:lvl2pPr>
            <a:lvl3pPr marL="0" indent="0">
              <a:spcAft>
                <a:spcPts val="1334"/>
              </a:spcAft>
              <a:buNone/>
              <a:defRPr sz="1299">
                <a:solidFill>
                  <a:schemeClr val="bg1"/>
                </a:solidFill>
                <a:latin typeface="+mn-lt"/>
              </a:defRPr>
            </a:lvl3pPr>
            <a:lvl4pPr marL="235197" indent="-235197">
              <a:spcAft>
                <a:spcPts val="1334"/>
              </a:spcAft>
              <a:buFont typeface="Arial" panose="020B0604020202020204" pitchFamily="34" charset="0"/>
              <a:buChar char="•"/>
              <a:defRPr sz="1299">
                <a:solidFill>
                  <a:schemeClr val="bg1"/>
                </a:solidFill>
                <a:latin typeface="+mn-lt"/>
              </a:defRPr>
            </a:lvl4pPr>
            <a:lvl5pPr marL="475190" indent="-235197">
              <a:spcAft>
                <a:spcPts val="1334"/>
              </a:spcAft>
              <a:defRPr sz="1299" baseline="0">
                <a:solidFill>
                  <a:schemeClr val="bg1"/>
                </a:solidFill>
                <a:latin typeface="+mn-lt"/>
              </a:defRPr>
            </a:lvl5pPr>
            <a:lvl6pPr marL="475190" indent="-235197">
              <a:spcAft>
                <a:spcPts val="1334"/>
              </a:spcAft>
              <a:buFont typeface="Verdana" panose="020B0604030504040204" pitchFamily="34" charset="0"/>
              <a:buChar char="−"/>
              <a:defRPr>
                <a:solidFill>
                  <a:schemeClr val="bg1"/>
                </a:solidFill>
              </a:defRPr>
            </a:lvl6pPr>
            <a:lvl7pPr marL="475190" indent="-235197">
              <a:spcAft>
                <a:spcPts val="1334"/>
              </a:spcAft>
              <a:defRPr>
                <a:solidFill>
                  <a:schemeClr val="bg1"/>
                </a:solidFill>
              </a:defRPr>
            </a:lvl7pPr>
            <a:lvl8pPr marL="475190" indent="-235197">
              <a:spcAft>
                <a:spcPts val="1334"/>
              </a:spcAft>
              <a:defRPr>
                <a:solidFill>
                  <a:schemeClr val="bg1"/>
                </a:solidFill>
              </a:defRPr>
            </a:lvl8pPr>
            <a:lvl9pPr marL="475190" indent="-235197">
              <a:spcAft>
                <a:spcPts val="1334"/>
              </a:spcAft>
              <a:defRPr>
                <a:solidFill>
                  <a:schemeClr val="bg1"/>
                </a:solidFill>
              </a:defRPr>
            </a:lvl9pPr>
          </a:lstStyle>
          <a:p>
            <a:pPr lvl="0"/>
            <a:r>
              <a:rPr lang="zh-TW" altLang="en-US" noProof="0" smtClean="0"/>
              <a:t>編輯母片文字樣式</a:t>
            </a:r>
          </a:p>
          <a:p>
            <a:pPr lvl="1"/>
            <a:r>
              <a:rPr lang="zh-TW" altLang="en-US" noProof="0" smtClean="0"/>
              <a:t>第二層</a:t>
            </a:r>
          </a:p>
          <a:p>
            <a:pPr lvl="2"/>
            <a:r>
              <a:rPr lang="zh-TW" altLang="en-US" noProof="0" smtClean="0"/>
              <a:t>第三層</a:t>
            </a:r>
          </a:p>
          <a:p>
            <a:pPr lvl="3"/>
            <a:r>
              <a:rPr lang="zh-TW" altLang="en-US" noProof="0" smtClean="0"/>
              <a:t>第四層</a:t>
            </a:r>
          </a:p>
          <a:p>
            <a:pPr lvl="4"/>
            <a:r>
              <a:rPr lang="zh-TW" altLang="en-US" noProof="0" smtClean="0"/>
              <a:t>第五層</a:t>
            </a:r>
            <a:endParaRPr lang="en-US" noProof="0" dirty="0"/>
          </a:p>
        </p:txBody>
      </p:sp>
      <p:sp>
        <p:nvSpPr>
          <p:cNvPr id="7" name="Text Placeholder 8"/>
          <p:cNvSpPr>
            <a:spLocks noGrp="1"/>
          </p:cNvSpPr>
          <p:nvPr>
            <p:ph type="body" sz="quarter" idx="20"/>
          </p:nvPr>
        </p:nvSpPr>
        <p:spPr>
          <a:xfrm>
            <a:off x="3056648" y="1760800"/>
            <a:ext cx="1269000" cy="2338640"/>
          </a:xfrm>
        </p:spPr>
        <p:txBody>
          <a:bodyPr/>
          <a:lstStyle>
            <a:lvl1pPr>
              <a:defRPr sz="1299" b="1">
                <a:solidFill>
                  <a:schemeClr val="bg1"/>
                </a:solidFill>
                <a:latin typeface="+mn-lt"/>
              </a:defRPr>
            </a:lvl1pPr>
            <a:lvl2pPr>
              <a:spcAft>
                <a:spcPts val="1334"/>
              </a:spcAft>
              <a:defRPr sz="1299">
                <a:solidFill>
                  <a:schemeClr val="bg1"/>
                </a:solidFill>
                <a:latin typeface="+mn-lt"/>
              </a:defRPr>
            </a:lvl2pPr>
            <a:lvl3pPr marL="0" indent="0">
              <a:spcAft>
                <a:spcPts val="1334"/>
              </a:spcAft>
              <a:buNone/>
              <a:defRPr sz="1299">
                <a:solidFill>
                  <a:schemeClr val="bg1"/>
                </a:solidFill>
                <a:latin typeface="+mn-lt"/>
              </a:defRPr>
            </a:lvl3pPr>
            <a:lvl4pPr marL="235197" indent="-235197">
              <a:spcAft>
                <a:spcPts val="1334"/>
              </a:spcAft>
              <a:buFont typeface="Arial" panose="020B0604020202020204" pitchFamily="34" charset="0"/>
              <a:buChar char="•"/>
              <a:defRPr sz="1299">
                <a:solidFill>
                  <a:schemeClr val="bg1"/>
                </a:solidFill>
                <a:latin typeface="+mn-lt"/>
              </a:defRPr>
            </a:lvl4pPr>
            <a:lvl5pPr marL="475190" indent="-235197">
              <a:spcAft>
                <a:spcPts val="1334"/>
              </a:spcAft>
              <a:defRPr sz="1299" baseline="0">
                <a:solidFill>
                  <a:schemeClr val="bg1"/>
                </a:solidFill>
                <a:latin typeface="+mn-lt"/>
              </a:defRPr>
            </a:lvl5pPr>
            <a:lvl6pPr marL="475190" indent="-235197">
              <a:spcAft>
                <a:spcPts val="1334"/>
              </a:spcAft>
              <a:buFont typeface="Verdana" panose="020B0604030504040204" pitchFamily="34" charset="0"/>
              <a:buChar char="−"/>
              <a:defRPr>
                <a:solidFill>
                  <a:schemeClr val="bg1"/>
                </a:solidFill>
              </a:defRPr>
            </a:lvl6pPr>
            <a:lvl7pPr marL="475190" indent="-235197">
              <a:spcAft>
                <a:spcPts val="1334"/>
              </a:spcAft>
              <a:defRPr>
                <a:solidFill>
                  <a:schemeClr val="bg1"/>
                </a:solidFill>
              </a:defRPr>
            </a:lvl7pPr>
            <a:lvl8pPr marL="475190" indent="-235197">
              <a:spcAft>
                <a:spcPts val="1334"/>
              </a:spcAft>
              <a:defRPr>
                <a:solidFill>
                  <a:schemeClr val="bg1"/>
                </a:solidFill>
              </a:defRPr>
            </a:lvl8pPr>
            <a:lvl9pPr marL="475190" indent="-235197">
              <a:spcAft>
                <a:spcPts val="1334"/>
              </a:spcAft>
              <a:defRPr>
                <a:solidFill>
                  <a:schemeClr val="bg1"/>
                </a:solidFill>
              </a:defRPr>
            </a:lvl9pPr>
          </a:lstStyle>
          <a:p>
            <a:pPr lvl="0"/>
            <a:r>
              <a:rPr lang="zh-TW" altLang="en-US" noProof="0" smtClean="0"/>
              <a:t>編輯母片文字樣式</a:t>
            </a:r>
          </a:p>
          <a:p>
            <a:pPr lvl="1"/>
            <a:r>
              <a:rPr lang="zh-TW" altLang="en-US" noProof="0" smtClean="0"/>
              <a:t>第二層</a:t>
            </a:r>
          </a:p>
          <a:p>
            <a:pPr lvl="2"/>
            <a:r>
              <a:rPr lang="zh-TW" altLang="en-US" noProof="0" smtClean="0"/>
              <a:t>第三層</a:t>
            </a:r>
          </a:p>
          <a:p>
            <a:pPr lvl="3"/>
            <a:r>
              <a:rPr lang="zh-TW" altLang="en-US" noProof="0" smtClean="0"/>
              <a:t>第四層</a:t>
            </a:r>
          </a:p>
          <a:p>
            <a:pPr lvl="4"/>
            <a:r>
              <a:rPr lang="zh-TW" altLang="en-US" noProof="0" smtClean="0"/>
              <a:t>第五層</a:t>
            </a:r>
            <a:endParaRPr lang="en-US" noProof="0" dirty="0"/>
          </a:p>
        </p:txBody>
      </p:sp>
      <p:sp>
        <p:nvSpPr>
          <p:cNvPr id="14" name="TextBox 13"/>
          <p:cNvSpPr txBox="1"/>
          <p:nvPr userDrawn="1"/>
        </p:nvSpPr>
        <p:spPr>
          <a:xfrm>
            <a:off x="245602" y="4461935"/>
            <a:ext cx="2621801" cy="100348"/>
          </a:xfrm>
          <a:prstGeom prst="rect">
            <a:avLst/>
          </a:prstGeom>
          <a:noFill/>
        </p:spPr>
        <p:txBody>
          <a:bodyPr wrap="square" lIns="0" tIns="0" rIns="0" bIns="0" rtlCol="0">
            <a:spAutoFit/>
          </a:bodyPr>
          <a:lstStyle/>
          <a:p>
            <a:pPr marL="0" indent="0">
              <a:spcBef>
                <a:spcPts val="601"/>
              </a:spcBef>
              <a:buSzPct val="100000"/>
              <a:buFont typeface="Arial"/>
              <a:buNone/>
            </a:pPr>
            <a:r>
              <a:rPr lang="zh-TW" altLang="en-US" sz="652" noProof="0" dirty="0" smtClean="0">
                <a:solidFill>
                  <a:schemeClr val="bg1"/>
                </a:solidFill>
                <a:latin typeface="微軟正黑體" panose="020B0604030504040204" pitchFamily="34" charset="-120"/>
                <a:ea typeface="微軟正黑體" panose="020B0604030504040204" pitchFamily="34" charset="-120"/>
              </a:rPr>
              <a:t>勤業眾信版權所有 保留一切權利</a:t>
            </a:r>
          </a:p>
        </p:txBody>
      </p:sp>
      <p:sp>
        <p:nvSpPr>
          <p:cNvPr id="15" name="TextBox 14"/>
          <p:cNvSpPr txBox="1"/>
          <p:nvPr userDrawn="1"/>
        </p:nvSpPr>
        <p:spPr>
          <a:xfrm>
            <a:off x="5572625" y="4461936"/>
            <a:ext cx="150779" cy="100348"/>
          </a:xfrm>
          <a:prstGeom prst="rect">
            <a:avLst/>
          </a:prstGeom>
          <a:noFill/>
        </p:spPr>
        <p:txBody>
          <a:bodyPr wrap="square" lIns="0" tIns="0" rIns="0" bIns="0" rtlCol="0">
            <a:spAutoFit/>
          </a:bodyPr>
          <a:lstStyle/>
          <a:p>
            <a:pPr marL="0" indent="0" algn="r">
              <a:spcBef>
                <a:spcPts val="801"/>
              </a:spcBef>
              <a:buSzPct val="100000"/>
              <a:buFont typeface="Arial"/>
              <a:buNone/>
            </a:pPr>
            <a:fld id="{C58DF478-B544-4ED8-9ED4-6A2648E2D233}" type="slidenum">
              <a:rPr lang="en-US" sz="652" noProof="0" smtClean="0">
                <a:solidFill>
                  <a:schemeClr val="bg1"/>
                </a:solidFill>
              </a:rPr>
              <a:pPr marL="0" indent="0" algn="r">
                <a:spcBef>
                  <a:spcPts val="801"/>
                </a:spcBef>
                <a:buSzPct val="100000"/>
                <a:buFont typeface="Arial"/>
                <a:buNone/>
              </a:pPr>
              <a:t>‹#›</a:t>
            </a:fld>
            <a:endParaRPr lang="en-US" sz="652" noProof="0" dirty="0">
              <a:solidFill>
                <a:schemeClr val="bg1"/>
              </a:solidFill>
            </a:endParaRPr>
          </a:p>
        </p:txBody>
      </p:sp>
      <p:sp>
        <p:nvSpPr>
          <p:cNvPr id="16" name="Text Placeholder 8"/>
          <p:cNvSpPr>
            <a:spLocks noGrp="1"/>
          </p:cNvSpPr>
          <p:nvPr>
            <p:ph type="body" sz="quarter" idx="13" hasCustomPrompt="1"/>
          </p:nvPr>
        </p:nvSpPr>
        <p:spPr>
          <a:xfrm>
            <a:off x="230055" y="507500"/>
            <a:ext cx="5508890" cy="521665"/>
          </a:xfrm>
          <a:prstGeom prst="rect">
            <a:avLst/>
          </a:prstGeom>
        </p:spPr>
        <p:txBody>
          <a:bodyPr lIns="0" tIns="0" rIns="0" bIns="0">
            <a:noAutofit/>
          </a:bodyPr>
          <a:lstStyle>
            <a:lvl1pPr marL="0" indent="0">
              <a:buNone/>
              <a:defRPr sz="2100" b="0">
                <a:solidFill>
                  <a:schemeClr val="bg1"/>
                </a:solidFill>
                <a:latin typeface="Calibri" panose="020F0502020204030204" pitchFamily="34" charset="0"/>
                <a:cs typeface="Calibri" panose="020F0502020204030204" pitchFamily="34" charset="0"/>
              </a:defRPr>
            </a:lvl1pPr>
          </a:lstStyle>
          <a:p>
            <a:pPr lvl="0"/>
            <a:r>
              <a:rPr lang="en-US" noProof="0" dirty="0"/>
              <a:t>Click to add subtitle</a:t>
            </a:r>
          </a:p>
        </p:txBody>
      </p:sp>
      <p:sp>
        <p:nvSpPr>
          <p:cNvPr id="17" name="Title Placeholder 1"/>
          <p:cNvSpPr>
            <a:spLocks noGrp="1"/>
          </p:cNvSpPr>
          <p:nvPr>
            <p:ph type="title"/>
          </p:nvPr>
        </p:nvSpPr>
        <p:spPr>
          <a:xfrm>
            <a:off x="230055" y="277338"/>
            <a:ext cx="5508890" cy="230159"/>
          </a:xfrm>
          <a:prstGeom prst="rect">
            <a:avLst/>
          </a:prstGeom>
        </p:spPr>
        <p:txBody>
          <a:bodyPr vert="horz" lIns="0" tIns="0" rIns="0" bIns="0" rtlCol="0" anchor="t" anchorCtr="0">
            <a:noAutofit/>
          </a:bodyPr>
          <a:lstStyle>
            <a:lvl1pPr>
              <a:defRPr sz="2000">
                <a:solidFill>
                  <a:schemeClr val="bg1"/>
                </a:solidFill>
              </a:defRPr>
            </a:lvl1pPr>
          </a:lstStyle>
          <a:p>
            <a:r>
              <a:rPr lang="zh-TW" altLang="en-US" noProof="0" smtClean="0"/>
              <a:t>按一下以編輯母片標題樣式</a:t>
            </a:r>
            <a:endParaRPr lang="en-US" noProof="0" dirty="0"/>
          </a:p>
        </p:txBody>
      </p:sp>
      <p:sp>
        <p:nvSpPr>
          <p:cNvPr id="22" name="TextBox 21"/>
          <p:cNvSpPr txBox="1"/>
          <p:nvPr userDrawn="1"/>
        </p:nvSpPr>
        <p:spPr>
          <a:xfrm>
            <a:off x="-808919" y="4592996"/>
            <a:ext cx="747431" cy="431400"/>
          </a:xfrm>
          <a:prstGeom prst="rect">
            <a:avLst/>
          </a:prstGeom>
          <a:noFill/>
          <a:ln>
            <a:noFill/>
          </a:ln>
        </p:spPr>
        <p:txBody>
          <a:bodyPr wrap="square" lIns="0" tIns="0" rIns="0" bIns="0" rtlCol="0">
            <a:spAutoFit/>
          </a:bodyPr>
          <a:lstStyle/>
          <a:p>
            <a:pPr algn="r">
              <a:spcAft>
                <a:spcPts val="270"/>
              </a:spcAft>
            </a:pPr>
            <a:r>
              <a:rPr lang="en-US" sz="701" baseline="0" noProof="0" dirty="0" smtClean="0">
                <a:ln>
                  <a:noFill/>
                </a:ln>
                <a:solidFill>
                  <a:schemeClr val="bg1">
                    <a:lumMod val="65000"/>
                  </a:schemeClr>
                </a:solidFill>
              </a:rPr>
              <a:t>Grey markers</a:t>
            </a:r>
            <a:r>
              <a:rPr lang="en-US" sz="701" dirty="0" smtClean="0">
                <a:ln>
                  <a:noFill/>
                </a:ln>
                <a:solidFill>
                  <a:schemeClr val="bg1">
                    <a:lumMod val="65000"/>
                  </a:schemeClr>
                </a:solidFill>
              </a:rPr>
              <a:t> indicate position of Deloitte Drawing Guides</a:t>
            </a:r>
            <a:endParaRPr lang="en-US" sz="701" baseline="0" noProof="0" dirty="0" smtClean="0">
              <a:ln>
                <a:noFill/>
              </a:ln>
              <a:solidFill>
                <a:schemeClr val="bg1">
                  <a:lumMod val="65000"/>
                </a:schemeClr>
              </a:solidFill>
            </a:endParaRPr>
          </a:p>
        </p:txBody>
      </p:sp>
      <p:cxnSp>
        <p:nvCxnSpPr>
          <p:cNvPr id="23" name="Straight Arrow Connector 12"/>
          <p:cNvCxnSpPr/>
          <p:nvPr userDrawn="1"/>
        </p:nvCxnSpPr>
        <p:spPr>
          <a:xfrm>
            <a:off x="-381894" y="4462068"/>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4" name="Straight Arrow Connector 12"/>
          <p:cNvCxnSpPr/>
          <p:nvPr userDrawn="1"/>
        </p:nvCxnSpPr>
        <p:spPr>
          <a:xfrm>
            <a:off x="-392411"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5" name="Straight Arrow Connector 12"/>
          <p:cNvCxnSpPr/>
          <p:nvPr userDrawn="1"/>
        </p:nvCxnSpPr>
        <p:spPr>
          <a:xfrm>
            <a:off x="6015633"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6" name="Straight Arrow Connector 12"/>
          <p:cNvCxnSpPr/>
          <p:nvPr userDrawn="1"/>
        </p:nvCxnSpPr>
        <p:spPr>
          <a:xfrm>
            <a:off x="6015633" y="4463033"/>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7" name="Straight Arrow Connector 14"/>
          <p:cNvCxnSpPr/>
          <p:nvPr userDrawn="1"/>
        </p:nvCxnSpPr>
        <p:spPr>
          <a:xfrm>
            <a:off x="5738945"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8" name="Straight Arrow Connector 14"/>
          <p:cNvCxnSpPr/>
          <p:nvPr userDrawn="1"/>
        </p:nvCxnSpPr>
        <p:spPr>
          <a:xfrm>
            <a:off x="226418" y="-29095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9" name="Straight Arrow Connector 14"/>
          <p:cNvCxnSpPr/>
          <p:nvPr userDrawn="1"/>
        </p:nvCxnSpPr>
        <p:spPr>
          <a:xfrm>
            <a:off x="5738945" y="-320178"/>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30" name="Straight Arrow Connector 14"/>
          <p:cNvCxnSpPr/>
          <p:nvPr userDrawn="1"/>
        </p:nvCxnSpPr>
        <p:spPr>
          <a:xfrm>
            <a:off x="226418"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44370876"/>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內頁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229021" y="1147565"/>
            <a:ext cx="2711181" cy="3191886"/>
          </a:xfrm>
          <a:prstGeom prst="rect">
            <a:avLst/>
          </a:prstGeom>
        </p:spPr>
        <p:txBody>
          <a:bodyPr vert="horz" lIns="0" tIns="0" rIns="0" bIns="0" rtlCol="0">
            <a:noAutofit/>
          </a:bodyPr>
          <a:lstStyle>
            <a:lvl1pPr>
              <a:defRPr sz="1299">
                <a:latin typeface="+mn-lt"/>
              </a:defRPr>
            </a:lvl1pPr>
            <a:lvl2pPr>
              <a:defRPr sz="1299">
                <a:latin typeface="+mn-lt"/>
              </a:defRPr>
            </a:lvl2pPr>
            <a:lvl3pPr>
              <a:defRPr sz="1299">
                <a:latin typeface="+mn-lt"/>
              </a:defRPr>
            </a:lvl3pPr>
            <a:lvl4pPr>
              <a:defRPr sz="1299">
                <a:latin typeface="+mn-lt"/>
              </a:defRPr>
            </a:lvl4pPr>
            <a:lvl5pPr>
              <a:defRPr sz="1299">
                <a:latin typeface="+mn-lt"/>
              </a:defRPr>
            </a:lvl5pPr>
          </a:lstStyle>
          <a:p>
            <a:pPr lvl="0"/>
            <a:r>
              <a:rPr lang="zh-TW" altLang="en-US" noProof="0" smtClean="0"/>
              <a:t>編輯母片文字樣式</a:t>
            </a:r>
          </a:p>
          <a:p>
            <a:pPr lvl="1"/>
            <a:r>
              <a:rPr lang="zh-TW" altLang="en-US" noProof="0" smtClean="0"/>
              <a:t>第二層</a:t>
            </a:r>
          </a:p>
          <a:p>
            <a:pPr lvl="2"/>
            <a:r>
              <a:rPr lang="zh-TW" altLang="en-US" noProof="0" smtClean="0"/>
              <a:t>第三層</a:t>
            </a:r>
          </a:p>
          <a:p>
            <a:pPr lvl="3"/>
            <a:r>
              <a:rPr lang="zh-TW" altLang="en-US" noProof="0" smtClean="0"/>
              <a:t>第四層</a:t>
            </a:r>
          </a:p>
          <a:p>
            <a:pPr lvl="4"/>
            <a:r>
              <a:rPr lang="zh-TW" altLang="en-US" noProof="0" smtClean="0"/>
              <a:t>第五層</a:t>
            </a:r>
            <a:endParaRPr lang="en-US" noProof="0" dirty="0"/>
          </a:p>
        </p:txBody>
      </p:sp>
      <p:sp>
        <p:nvSpPr>
          <p:cNvPr id="5" name="Text Placeholder 8"/>
          <p:cNvSpPr>
            <a:spLocks noGrp="1"/>
          </p:cNvSpPr>
          <p:nvPr>
            <p:ph type="body" sz="quarter" idx="13" hasCustomPrompt="1"/>
          </p:nvPr>
        </p:nvSpPr>
        <p:spPr>
          <a:xfrm>
            <a:off x="230055" y="507500"/>
            <a:ext cx="5508890" cy="521665"/>
          </a:xfrm>
          <a:prstGeom prst="rect">
            <a:avLst/>
          </a:prstGeom>
        </p:spPr>
        <p:txBody>
          <a:bodyPr lIns="0" tIns="0" rIns="0" bIns="0">
            <a:noAutofit/>
          </a:bodyPr>
          <a:lstStyle>
            <a:lvl1pPr marL="0" indent="0">
              <a:buNone/>
              <a:defRPr sz="2100" b="0">
                <a:solidFill>
                  <a:srgbClr val="575757"/>
                </a:solidFill>
                <a:latin typeface="Calibri" panose="020F0502020204030204" pitchFamily="34" charset="0"/>
                <a:cs typeface="Calibri" panose="020F0502020204030204" pitchFamily="34" charset="0"/>
              </a:defRPr>
            </a:lvl1pPr>
          </a:lstStyle>
          <a:p>
            <a:pPr lvl="0"/>
            <a:r>
              <a:rPr lang="en-US" noProof="0" dirty="0"/>
              <a:t>Click to add subtitle</a:t>
            </a:r>
          </a:p>
        </p:txBody>
      </p:sp>
      <p:sp>
        <p:nvSpPr>
          <p:cNvPr id="6" name="Title Placeholder 1"/>
          <p:cNvSpPr>
            <a:spLocks noGrp="1"/>
          </p:cNvSpPr>
          <p:nvPr>
            <p:ph type="title"/>
          </p:nvPr>
        </p:nvSpPr>
        <p:spPr>
          <a:xfrm>
            <a:off x="230055" y="277338"/>
            <a:ext cx="5508890" cy="230159"/>
          </a:xfrm>
          <a:prstGeom prst="rect">
            <a:avLst/>
          </a:prstGeom>
        </p:spPr>
        <p:txBody>
          <a:bodyPr vert="horz" lIns="0" tIns="0" rIns="0" bIns="0" rtlCol="0" anchor="t" anchorCtr="0">
            <a:noAutofit/>
          </a:bodyPr>
          <a:lstStyle>
            <a:lvl1pPr>
              <a:defRPr sz="2100"/>
            </a:lvl1pPr>
          </a:lstStyle>
          <a:p>
            <a:r>
              <a:rPr lang="zh-TW" altLang="en-US" noProof="0" smtClean="0"/>
              <a:t>按一下以編輯母片標題樣式</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內頁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30055" y="277341"/>
            <a:ext cx="5508890" cy="481190"/>
          </a:xfrm>
          <a:prstGeom prst="rect">
            <a:avLst/>
          </a:prstGeom>
        </p:spPr>
        <p:txBody>
          <a:bodyPr vert="horz" lIns="0" tIns="0" rIns="0" bIns="0" rtlCol="0" anchor="t" anchorCtr="0">
            <a:noAutofit/>
          </a:bodyPr>
          <a:lstStyle>
            <a:lvl1pPr>
              <a:defRPr sz="2000"/>
            </a:lvl1pPr>
          </a:lstStyle>
          <a:p>
            <a:r>
              <a:rPr lang="zh-TW" altLang="en-US" noProof="0" smtClean="0"/>
              <a:t>按一下以編輯母片標題樣式</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內頁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封底_中文_法律聲明">
    <p:bg>
      <p:bgPr>
        <a:solidFill>
          <a:schemeClr val="tx1"/>
        </a:solidFill>
        <a:effectLst/>
      </p:bgPr>
    </p:bg>
    <p:spTree>
      <p:nvGrpSpPr>
        <p:cNvPr id="1" name=""/>
        <p:cNvGrpSpPr/>
        <p:nvPr/>
      </p:nvGrpSpPr>
      <p:grpSpPr>
        <a:xfrm>
          <a:off x="0" y="0"/>
          <a:ext cx="0" cy="0"/>
          <a:chOff x="0" y="0"/>
          <a:chExt cx="0" cy="0"/>
        </a:xfrm>
      </p:grpSpPr>
      <p:sp>
        <p:nvSpPr>
          <p:cNvPr id="62" name="TextBox 21"/>
          <p:cNvSpPr txBox="1"/>
          <p:nvPr userDrawn="1"/>
        </p:nvSpPr>
        <p:spPr>
          <a:xfrm>
            <a:off x="-808919" y="4592996"/>
            <a:ext cx="747431" cy="431400"/>
          </a:xfrm>
          <a:prstGeom prst="rect">
            <a:avLst/>
          </a:prstGeom>
          <a:noFill/>
          <a:ln>
            <a:noFill/>
          </a:ln>
        </p:spPr>
        <p:txBody>
          <a:bodyPr wrap="square" lIns="0" tIns="0" rIns="0" bIns="0" rtlCol="0">
            <a:spAutoFit/>
          </a:bodyPr>
          <a:lstStyle/>
          <a:p>
            <a:pPr algn="r">
              <a:spcAft>
                <a:spcPts val="270"/>
              </a:spcAft>
            </a:pPr>
            <a:r>
              <a:rPr lang="en-US" sz="701" baseline="0" noProof="0" dirty="0" smtClean="0">
                <a:ln>
                  <a:noFill/>
                </a:ln>
                <a:solidFill>
                  <a:schemeClr val="bg1">
                    <a:lumMod val="65000"/>
                  </a:schemeClr>
                </a:solidFill>
              </a:rPr>
              <a:t>Grey markers</a:t>
            </a:r>
            <a:r>
              <a:rPr lang="en-US" sz="701" dirty="0" smtClean="0">
                <a:ln>
                  <a:noFill/>
                </a:ln>
                <a:solidFill>
                  <a:schemeClr val="bg1">
                    <a:lumMod val="65000"/>
                  </a:schemeClr>
                </a:solidFill>
              </a:rPr>
              <a:t> indicate position of Deloitte Drawing Guides</a:t>
            </a:r>
            <a:endParaRPr lang="en-US" sz="701" baseline="0" noProof="0" dirty="0" smtClean="0">
              <a:ln>
                <a:noFill/>
              </a:ln>
              <a:solidFill>
                <a:schemeClr val="bg1">
                  <a:lumMod val="65000"/>
                </a:schemeClr>
              </a:solidFill>
            </a:endParaRPr>
          </a:p>
        </p:txBody>
      </p:sp>
      <p:cxnSp>
        <p:nvCxnSpPr>
          <p:cNvPr id="63" name="Straight Arrow Connector 12"/>
          <p:cNvCxnSpPr/>
          <p:nvPr userDrawn="1"/>
        </p:nvCxnSpPr>
        <p:spPr>
          <a:xfrm>
            <a:off x="-381894" y="4462068"/>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4" name="Straight Arrow Connector 12"/>
          <p:cNvCxnSpPr/>
          <p:nvPr userDrawn="1"/>
        </p:nvCxnSpPr>
        <p:spPr>
          <a:xfrm>
            <a:off x="-392411"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5" name="Straight Arrow Connector 12"/>
          <p:cNvCxnSpPr/>
          <p:nvPr userDrawn="1"/>
        </p:nvCxnSpPr>
        <p:spPr>
          <a:xfrm>
            <a:off x="6015633"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6" name="Straight Arrow Connector 12"/>
          <p:cNvCxnSpPr/>
          <p:nvPr userDrawn="1"/>
        </p:nvCxnSpPr>
        <p:spPr>
          <a:xfrm>
            <a:off x="6015633" y="4463033"/>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7" name="Straight Arrow Connector 14"/>
          <p:cNvCxnSpPr/>
          <p:nvPr userDrawn="1"/>
        </p:nvCxnSpPr>
        <p:spPr>
          <a:xfrm>
            <a:off x="5738945"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8" name="Straight Arrow Connector 14"/>
          <p:cNvCxnSpPr/>
          <p:nvPr userDrawn="1"/>
        </p:nvCxnSpPr>
        <p:spPr>
          <a:xfrm>
            <a:off x="226418" y="-29095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9" name="Straight Arrow Connector 14"/>
          <p:cNvCxnSpPr/>
          <p:nvPr userDrawn="1"/>
        </p:nvCxnSpPr>
        <p:spPr>
          <a:xfrm>
            <a:off x="5738945" y="-320178"/>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0" name="Straight Arrow Connector 14"/>
          <p:cNvCxnSpPr/>
          <p:nvPr userDrawn="1"/>
        </p:nvCxnSpPr>
        <p:spPr>
          <a:xfrm>
            <a:off x="226418"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pic>
        <p:nvPicPr>
          <p:cNvPr id="38" name="Picture 2" descr="C:\Users\molin\Desktop\generator.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60609" y="3905680"/>
            <a:ext cx="348689" cy="490638"/>
          </a:xfrm>
          <a:prstGeom prst="rect">
            <a:avLst/>
          </a:prstGeom>
          <a:noFill/>
          <a:extLst>
            <a:ext uri="{909E8E84-426E-40DD-AFC4-6F175D3DCCD1}">
              <a14:hiddenFill xmlns:a14="http://schemas.microsoft.com/office/drawing/2010/main">
                <a:solidFill>
                  <a:srgbClr val="FFFFFF"/>
                </a:solidFill>
              </a14:hiddenFill>
            </a:ext>
          </a:extLst>
        </p:spPr>
      </p:pic>
      <p:grpSp>
        <p:nvGrpSpPr>
          <p:cNvPr id="36" name="群組 35"/>
          <p:cNvGrpSpPr/>
          <p:nvPr userDrawn="1"/>
        </p:nvGrpSpPr>
        <p:grpSpPr>
          <a:xfrm>
            <a:off x="5113667" y="311082"/>
            <a:ext cx="625279" cy="205735"/>
            <a:chOff x="463716" y="867128"/>
            <a:chExt cx="1277166" cy="298647"/>
          </a:xfrm>
        </p:grpSpPr>
        <p:sp>
          <p:nvSpPr>
            <p:cNvPr id="39" name="Freeform 6"/>
            <p:cNvSpPr>
              <a:spLocks noEditPoints="1"/>
            </p:cNvSpPr>
            <p:nvPr/>
          </p:nvSpPr>
          <p:spPr bwMode="auto">
            <a:xfrm>
              <a:off x="463716" y="867128"/>
              <a:ext cx="287471" cy="296163"/>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dirty="0"/>
            </a:p>
          </p:txBody>
        </p:sp>
        <p:sp>
          <p:nvSpPr>
            <p:cNvPr id="40" name="Freeform 11"/>
            <p:cNvSpPr>
              <a:spLocks noEditPoints="1"/>
            </p:cNvSpPr>
            <p:nvPr/>
          </p:nvSpPr>
          <p:spPr bwMode="auto">
            <a:xfrm>
              <a:off x="790303" y="867128"/>
              <a:ext cx="297405" cy="298026"/>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1" name="Freeform 15"/>
            <p:cNvSpPr>
              <a:spLocks/>
            </p:cNvSpPr>
            <p:nvPr/>
          </p:nvSpPr>
          <p:spPr bwMode="auto">
            <a:xfrm>
              <a:off x="1119373" y="978267"/>
              <a:ext cx="283125" cy="187508"/>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2" name="Freeform 16"/>
            <p:cNvSpPr>
              <a:spLocks/>
            </p:cNvSpPr>
            <p:nvPr/>
          </p:nvSpPr>
          <p:spPr bwMode="auto">
            <a:xfrm>
              <a:off x="1286392" y="1022971"/>
              <a:ext cx="127903" cy="132249"/>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3" name="Freeform 18"/>
            <p:cNvSpPr>
              <a:spLocks noEditPoints="1"/>
            </p:cNvSpPr>
            <p:nvPr/>
          </p:nvSpPr>
          <p:spPr bwMode="auto">
            <a:xfrm>
              <a:off x="1134274" y="878925"/>
              <a:ext cx="263257" cy="93754"/>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4" name="Freeform 23"/>
            <p:cNvSpPr>
              <a:spLocks/>
            </p:cNvSpPr>
            <p:nvPr/>
          </p:nvSpPr>
          <p:spPr bwMode="auto">
            <a:xfrm>
              <a:off x="1547165" y="883271"/>
              <a:ext cx="177574" cy="26077"/>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5" name="Freeform 25"/>
            <p:cNvSpPr>
              <a:spLocks/>
            </p:cNvSpPr>
            <p:nvPr/>
          </p:nvSpPr>
          <p:spPr bwMode="auto">
            <a:xfrm>
              <a:off x="1534747" y="932321"/>
              <a:ext cx="206135" cy="29182"/>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6" name="Freeform 27"/>
            <p:cNvSpPr>
              <a:spLocks/>
            </p:cNvSpPr>
            <p:nvPr/>
          </p:nvSpPr>
          <p:spPr bwMode="auto">
            <a:xfrm>
              <a:off x="1444098" y="870232"/>
              <a:ext cx="91270" cy="294300"/>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7" name="Freeform 30"/>
            <p:cNvSpPr>
              <a:spLocks/>
            </p:cNvSpPr>
            <p:nvPr/>
          </p:nvSpPr>
          <p:spPr bwMode="auto">
            <a:xfrm>
              <a:off x="1544681" y="980751"/>
              <a:ext cx="182541" cy="26077"/>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8" name="Freeform 31"/>
            <p:cNvSpPr>
              <a:spLocks/>
            </p:cNvSpPr>
            <p:nvPr/>
          </p:nvSpPr>
          <p:spPr bwMode="auto">
            <a:xfrm>
              <a:off x="1544681" y="1025454"/>
              <a:ext cx="182541" cy="26698"/>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9" name="Freeform 33"/>
            <p:cNvSpPr>
              <a:spLocks noEditPoints="1"/>
            </p:cNvSpPr>
            <p:nvPr/>
          </p:nvSpPr>
          <p:spPr bwMode="auto">
            <a:xfrm>
              <a:off x="1547165" y="1072021"/>
              <a:ext cx="177574" cy="88787"/>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grpSp>
      <p:grpSp>
        <p:nvGrpSpPr>
          <p:cNvPr id="50" name="群組 49"/>
          <p:cNvGrpSpPr/>
          <p:nvPr userDrawn="1"/>
        </p:nvGrpSpPr>
        <p:grpSpPr>
          <a:xfrm>
            <a:off x="226420" y="317197"/>
            <a:ext cx="795506" cy="209156"/>
            <a:chOff x="462474" y="460447"/>
            <a:chExt cx="1624863" cy="303614"/>
          </a:xfrm>
        </p:grpSpPr>
        <p:sp>
          <p:nvSpPr>
            <p:cNvPr id="51" name="Freeform 36"/>
            <p:cNvSpPr>
              <a:spLocks/>
            </p:cNvSpPr>
            <p:nvPr/>
          </p:nvSpPr>
          <p:spPr bwMode="auto">
            <a:xfrm>
              <a:off x="2002275" y="677137"/>
              <a:ext cx="85062" cy="86924"/>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52" name="Freeform 38"/>
            <p:cNvSpPr>
              <a:spLocks noEditPoints="1"/>
            </p:cNvSpPr>
            <p:nvPr/>
          </p:nvSpPr>
          <p:spPr bwMode="auto">
            <a:xfrm>
              <a:off x="462474" y="461689"/>
              <a:ext cx="246492" cy="297405"/>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53" name="Rectangle 41"/>
            <p:cNvSpPr>
              <a:spLocks noChangeArrowheads="1"/>
            </p:cNvSpPr>
            <p:nvPr/>
          </p:nvSpPr>
          <p:spPr bwMode="auto">
            <a:xfrm>
              <a:off x="969739" y="460447"/>
              <a:ext cx="75127" cy="298647"/>
            </a:xfrm>
            <a:prstGeom prst="rect">
              <a:avLst/>
            </a:prstGeom>
            <a:solidFill>
              <a:schemeClr val="bg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54" name="Freeform 42"/>
            <p:cNvSpPr>
              <a:spLocks noEditPoints="1"/>
            </p:cNvSpPr>
            <p:nvPr/>
          </p:nvSpPr>
          <p:spPr bwMode="auto">
            <a:xfrm>
              <a:off x="1074048" y="533091"/>
              <a:ext cx="216069" cy="23034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55" name="Rectangle 45"/>
            <p:cNvSpPr>
              <a:spLocks noChangeArrowheads="1"/>
            </p:cNvSpPr>
            <p:nvPr/>
          </p:nvSpPr>
          <p:spPr bwMode="auto">
            <a:xfrm>
              <a:off x="1319920" y="536816"/>
              <a:ext cx="75127" cy="222277"/>
            </a:xfrm>
            <a:prstGeom prst="rect">
              <a:avLst/>
            </a:prstGeom>
            <a:solidFill>
              <a:schemeClr val="bg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56" name="Rectangle 46"/>
            <p:cNvSpPr>
              <a:spLocks noChangeArrowheads="1"/>
            </p:cNvSpPr>
            <p:nvPr/>
          </p:nvSpPr>
          <p:spPr bwMode="auto">
            <a:xfrm>
              <a:off x="1319920" y="460447"/>
              <a:ext cx="75127" cy="49671"/>
            </a:xfrm>
            <a:prstGeom prst="rect">
              <a:avLst/>
            </a:prstGeom>
            <a:solidFill>
              <a:schemeClr val="bg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57" name="Freeform 47"/>
            <p:cNvSpPr>
              <a:spLocks/>
            </p:cNvSpPr>
            <p:nvPr/>
          </p:nvSpPr>
          <p:spPr bwMode="auto">
            <a:xfrm>
              <a:off x="1424850" y="467277"/>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58" name="Freeform 49"/>
            <p:cNvSpPr>
              <a:spLocks/>
            </p:cNvSpPr>
            <p:nvPr/>
          </p:nvSpPr>
          <p:spPr bwMode="auto">
            <a:xfrm>
              <a:off x="1598078" y="467277"/>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59" name="Freeform 51"/>
            <p:cNvSpPr>
              <a:spLocks noEditPoints="1"/>
            </p:cNvSpPr>
            <p:nvPr/>
          </p:nvSpPr>
          <p:spPr bwMode="auto">
            <a:xfrm>
              <a:off x="1773168" y="533091"/>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92" name="Freeform 54"/>
            <p:cNvSpPr>
              <a:spLocks noEditPoints="1"/>
            </p:cNvSpPr>
            <p:nvPr/>
          </p:nvSpPr>
          <p:spPr bwMode="auto">
            <a:xfrm>
              <a:off x="731318" y="533091"/>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grpSp>
      <p:sp>
        <p:nvSpPr>
          <p:cNvPr id="60" name="文字方塊 59"/>
          <p:cNvSpPr txBox="1"/>
          <p:nvPr userDrawn="1"/>
        </p:nvSpPr>
        <p:spPr>
          <a:xfrm>
            <a:off x="282018" y="3251389"/>
            <a:ext cx="3510137" cy="2495298"/>
          </a:xfrm>
          <a:prstGeom prst="rect">
            <a:avLst/>
          </a:prstGeom>
          <a:noFill/>
        </p:spPr>
        <p:txBody>
          <a:bodyPr wrap="square" lIns="0" tIns="0" rIns="0" bIns="0" rtlCol="0">
            <a:spAutoFit/>
          </a:bodyPr>
          <a:lstStyle/>
          <a:p>
            <a:r>
              <a:rPr lang="en-US" altLang="zh-TW" sz="901" kern="1200" dirty="0" smtClean="0">
                <a:solidFill>
                  <a:schemeClr val="bg1"/>
                </a:solidFill>
                <a:effectLst/>
                <a:latin typeface="+mn-lt"/>
                <a:ea typeface="+mn-ea"/>
                <a:cs typeface="+mn-cs"/>
              </a:rPr>
              <a:t>Deloitte </a:t>
            </a:r>
            <a:r>
              <a:rPr lang="zh-CN" altLang="zh-TW" sz="901" kern="1200" dirty="0" smtClean="0">
                <a:solidFill>
                  <a:schemeClr val="bg1"/>
                </a:solidFill>
                <a:effectLst/>
                <a:latin typeface="+mn-lt"/>
                <a:ea typeface="+mn-ea"/>
                <a:cs typeface="+mn-cs"/>
              </a:rPr>
              <a:t>泛指</a:t>
            </a:r>
            <a:r>
              <a:rPr lang="en-US" altLang="zh-TW" sz="901" kern="1200" dirty="0" smtClean="0">
                <a:solidFill>
                  <a:schemeClr val="bg1"/>
                </a:solidFill>
                <a:effectLst/>
                <a:latin typeface="+mn-lt"/>
                <a:ea typeface="+mn-ea"/>
                <a:cs typeface="+mn-cs"/>
              </a:rPr>
              <a:t>Deloitte </a:t>
            </a:r>
            <a:r>
              <a:rPr lang="en-US" altLang="zh-TW" sz="901" kern="1200" dirty="0" err="1" smtClean="0">
                <a:solidFill>
                  <a:schemeClr val="bg1"/>
                </a:solidFill>
                <a:effectLst/>
                <a:latin typeface="+mn-lt"/>
                <a:ea typeface="+mn-ea"/>
                <a:cs typeface="+mn-cs"/>
              </a:rPr>
              <a:t>Touche</a:t>
            </a:r>
            <a:r>
              <a:rPr lang="en-US" altLang="zh-TW" sz="901" kern="1200" dirty="0" smtClean="0">
                <a:solidFill>
                  <a:schemeClr val="bg1"/>
                </a:solidFill>
                <a:effectLst/>
                <a:latin typeface="+mn-lt"/>
                <a:ea typeface="+mn-ea"/>
                <a:cs typeface="+mn-cs"/>
              </a:rPr>
              <a:t> Tohmatsu Limited (</a:t>
            </a:r>
            <a:r>
              <a:rPr lang="zh-CN" altLang="zh-TW" sz="901" kern="1200" dirty="0" smtClean="0">
                <a:solidFill>
                  <a:schemeClr val="bg1"/>
                </a:solidFill>
                <a:effectLst/>
                <a:latin typeface="+mn-lt"/>
                <a:ea typeface="+mn-ea"/>
                <a:cs typeface="+mn-cs"/>
              </a:rPr>
              <a:t>簡稱</a:t>
            </a:r>
            <a:r>
              <a:rPr lang="en-US" altLang="zh-TW" sz="901" kern="1200" dirty="0" smtClean="0">
                <a:solidFill>
                  <a:schemeClr val="bg1"/>
                </a:solidFill>
                <a:effectLst/>
                <a:latin typeface="+mn-lt"/>
                <a:ea typeface="+mn-ea"/>
                <a:cs typeface="+mn-cs"/>
              </a:rPr>
              <a:t>"DTTL")</a:t>
            </a:r>
            <a:r>
              <a:rPr lang="zh-CN" altLang="zh-TW" sz="901" kern="1200" dirty="0" smtClean="0">
                <a:solidFill>
                  <a:schemeClr val="bg1"/>
                </a:solidFill>
                <a:effectLst/>
                <a:latin typeface="+mn-lt"/>
                <a:ea typeface="+mn-ea"/>
                <a:cs typeface="+mn-cs"/>
              </a:rPr>
              <a:t>，以及其一家或多家會員所及其相關實體。</a:t>
            </a:r>
            <a:r>
              <a:rPr lang="en-US" altLang="zh-TW" sz="901" kern="1200" dirty="0" smtClean="0">
                <a:solidFill>
                  <a:schemeClr val="bg1"/>
                </a:solidFill>
                <a:effectLst/>
                <a:latin typeface="+mn-lt"/>
                <a:ea typeface="+mn-ea"/>
                <a:cs typeface="+mn-cs"/>
              </a:rPr>
              <a:t>DTTL</a:t>
            </a:r>
            <a:r>
              <a:rPr lang="zh-CN" altLang="zh-TW" sz="901" kern="1200" dirty="0" smtClean="0">
                <a:solidFill>
                  <a:schemeClr val="bg1"/>
                </a:solidFill>
                <a:effectLst/>
                <a:latin typeface="+mn-lt"/>
                <a:ea typeface="+mn-ea"/>
                <a:cs typeface="+mn-cs"/>
              </a:rPr>
              <a:t>全球每一個會員所及其相關實體均為具有獨立法律地位之個別法律實體</a:t>
            </a:r>
            <a:r>
              <a:rPr lang="zh-TW" altLang="zh-TW" sz="901" kern="1200" dirty="0" smtClean="0">
                <a:solidFill>
                  <a:schemeClr val="bg1"/>
                </a:solidFill>
                <a:effectLst/>
                <a:latin typeface="+mn-lt"/>
                <a:ea typeface="+mn-ea"/>
                <a:cs typeface="+mn-cs"/>
              </a:rPr>
              <a:t>，</a:t>
            </a:r>
            <a:r>
              <a:rPr lang="en-US" altLang="zh-TW" sz="901" kern="1200" dirty="0" smtClean="0">
                <a:solidFill>
                  <a:schemeClr val="bg1"/>
                </a:solidFill>
                <a:effectLst/>
                <a:latin typeface="+mn-lt"/>
                <a:ea typeface="+mn-ea"/>
                <a:cs typeface="+mn-cs"/>
              </a:rPr>
              <a:t>DTTL</a:t>
            </a:r>
            <a:r>
              <a:rPr lang="zh-CN" altLang="zh-TW" sz="901" kern="1200" dirty="0" smtClean="0">
                <a:solidFill>
                  <a:schemeClr val="bg1"/>
                </a:solidFill>
                <a:effectLst/>
                <a:latin typeface="+mn-lt"/>
                <a:ea typeface="+mn-ea"/>
                <a:cs typeface="+mn-cs"/>
              </a:rPr>
              <a:t>並不向客戶提供服務。請參閱 </a:t>
            </a:r>
            <a:r>
              <a:rPr lang="en-US" altLang="zh-TW" sz="901" kern="1200" dirty="0" smtClean="0">
                <a:solidFill>
                  <a:schemeClr val="bg1"/>
                </a:solidFill>
                <a:effectLst/>
                <a:latin typeface="+mn-lt"/>
                <a:ea typeface="+mn-ea"/>
                <a:cs typeface="+mn-cs"/>
              </a:rPr>
              <a:t>www.deloitte.com/about</a:t>
            </a:r>
            <a:r>
              <a:rPr lang="zh-CN" altLang="zh-TW" sz="901" kern="1200" dirty="0" smtClean="0">
                <a:solidFill>
                  <a:schemeClr val="bg1"/>
                </a:solidFill>
                <a:effectLst/>
                <a:latin typeface="+mn-lt"/>
                <a:ea typeface="+mn-ea"/>
                <a:cs typeface="+mn-cs"/>
              </a:rPr>
              <a:t>了解更多。</a:t>
            </a:r>
            <a:endParaRPr lang="zh-TW" altLang="zh-TW" sz="901" kern="1200" dirty="0" smtClean="0">
              <a:solidFill>
                <a:schemeClr val="bg1"/>
              </a:solidFill>
              <a:effectLst/>
              <a:latin typeface="+mn-lt"/>
              <a:ea typeface="+mn-ea"/>
              <a:cs typeface="+mn-cs"/>
            </a:endParaRPr>
          </a:p>
          <a:p>
            <a:r>
              <a:rPr lang="en-US" altLang="zh-TW" sz="901" kern="1200" dirty="0" smtClean="0">
                <a:solidFill>
                  <a:schemeClr val="bg1"/>
                </a:solidFill>
                <a:effectLst/>
                <a:latin typeface="+mn-lt"/>
                <a:ea typeface="+mn-ea"/>
                <a:cs typeface="+mn-cs"/>
              </a:rPr>
              <a:t> </a:t>
            </a:r>
            <a:endParaRPr lang="zh-TW" altLang="zh-TW" sz="901" kern="1200" dirty="0" smtClean="0">
              <a:solidFill>
                <a:schemeClr val="bg1"/>
              </a:solidFill>
              <a:effectLst/>
              <a:latin typeface="+mn-lt"/>
              <a:ea typeface="+mn-ea"/>
              <a:cs typeface="+mn-cs"/>
            </a:endParaRPr>
          </a:p>
          <a:p>
            <a:r>
              <a:rPr lang="en-US" altLang="zh-TW" sz="901" kern="1200" dirty="0" smtClean="0">
                <a:solidFill>
                  <a:schemeClr val="bg1"/>
                </a:solidFill>
                <a:effectLst/>
                <a:latin typeface="+mn-lt"/>
                <a:ea typeface="+mn-ea"/>
                <a:cs typeface="+mn-cs"/>
              </a:rPr>
              <a:t>Deloitte </a:t>
            </a:r>
            <a:r>
              <a:rPr lang="zh-CN" altLang="zh-TW" sz="901" kern="1200" dirty="0" smtClean="0">
                <a:solidFill>
                  <a:schemeClr val="bg1"/>
                </a:solidFill>
                <a:effectLst/>
                <a:latin typeface="+mn-lt"/>
                <a:ea typeface="+mn-ea"/>
                <a:cs typeface="+mn-cs"/>
              </a:rPr>
              <a:t>亞太</a:t>
            </a:r>
            <a:r>
              <a:rPr lang="en-US" altLang="zh-TW" sz="901" kern="1200" dirty="0" smtClean="0">
                <a:solidFill>
                  <a:schemeClr val="bg1"/>
                </a:solidFill>
                <a:effectLst/>
                <a:latin typeface="+mn-lt"/>
                <a:ea typeface="+mn-ea"/>
                <a:cs typeface="+mn-cs"/>
              </a:rPr>
              <a:t>(Deloitte AP)</a:t>
            </a:r>
            <a:r>
              <a:rPr lang="zh-CN" altLang="zh-TW" sz="901" kern="1200" dirty="0" smtClean="0">
                <a:solidFill>
                  <a:schemeClr val="bg1"/>
                </a:solidFill>
                <a:effectLst/>
                <a:latin typeface="+mn-lt"/>
                <a:ea typeface="+mn-ea"/>
                <a:cs typeface="+mn-cs"/>
              </a:rPr>
              <a:t>是一家私人擔保有限公司，也是</a:t>
            </a:r>
            <a:r>
              <a:rPr lang="en-US" altLang="zh-TW" sz="901" kern="1200" dirty="0" smtClean="0">
                <a:solidFill>
                  <a:schemeClr val="bg1"/>
                </a:solidFill>
                <a:effectLst/>
                <a:latin typeface="+mn-lt"/>
                <a:ea typeface="+mn-ea"/>
                <a:cs typeface="+mn-cs"/>
              </a:rPr>
              <a:t>DTTL</a:t>
            </a:r>
            <a:r>
              <a:rPr lang="zh-CN" altLang="zh-TW" sz="901" kern="1200" dirty="0" smtClean="0">
                <a:solidFill>
                  <a:schemeClr val="bg1"/>
                </a:solidFill>
                <a:effectLst/>
                <a:latin typeface="+mn-lt"/>
                <a:ea typeface="+mn-ea"/>
                <a:cs typeface="+mn-cs"/>
              </a:rPr>
              <a:t>的一家會員所。</a:t>
            </a:r>
            <a:r>
              <a:rPr lang="en-US" altLang="zh-TW" sz="901" kern="1200" dirty="0" smtClean="0">
                <a:solidFill>
                  <a:schemeClr val="bg1"/>
                </a:solidFill>
                <a:effectLst/>
                <a:latin typeface="+mn-lt"/>
                <a:ea typeface="+mn-ea"/>
                <a:cs typeface="+mn-cs"/>
              </a:rPr>
              <a:t>Deloitte </a:t>
            </a:r>
            <a:r>
              <a:rPr lang="zh-CN" altLang="zh-TW" sz="901" kern="1200" dirty="0" smtClean="0">
                <a:solidFill>
                  <a:schemeClr val="bg1"/>
                </a:solidFill>
                <a:effectLst/>
                <a:latin typeface="+mn-lt"/>
                <a:ea typeface="+mn-ea"/>
                <a:cs typeface="+mn-cs"/>
              </a:rPr>
              <a:t>亞太及其相關實體的成員，皆為具有獨立法律地位之個別法律實體，提供來自</a:t>
            </a:r>
            <a:r>
              <a:rPr lang="en-US" altLang="zh-TW" sz="901" kern="1200" dirty="0" smtClean="0">
                <a:solidFill>
                  <a:schemeClr val="bg1"/>
                </a:solidFill>
                <a:effectLst/>
                <a:latin typeface="+mn-lt"/>
                <a:ea typeface="+mn-ea"/>
                <a:cs typeface="+mn-cs"/>
              </a:rPr>
              <a:t>100</a:t>
            </a:r>
            <a:r>
              <a:rPr lang="zh-CN" altLang="zh-TW" sz="901" kern="1200" dirty="0" smtClean="0">
                <a:solidFill>
                  <a:schemeClr val="bg1"/>
                </a:solidFill>
                <a:effectLst/>
                <a:latin typeface="+mn-lt"/>
                <a:ea typeface="+mn-ea"/>
                <a:cs typeface="+mn-cs"/>
              </a:rPr>
              <a:t>多個城市的服務，包括：奧克蘭、曼谷、北京、河內、香港、雅加達、吉隆坡、馬尼拉、墨爾本、大阪、首爾、上海、新加坡、雪梨、台北和東京。</a:t>
            </a:r>
            <a:endParaRPr lang="zh-TW" altLang="zh-TW" sz="901" kern="1200" dirty="0" smtClean="0">
              <a:solidFill>
                <a:schemeClr val="bg1"/>
              </a:solidFill>
              <a:effectLst/>
              <a:latin typeface="+mn-lt"/>
              <a:ea typeface="+mn-ea"/>
              <a:cs typeface="+mn-cs"/>
            </a:endParaRPr>
          </a:p>
          <a:p>
            <a:r>
              <a:rPr lang="en-US" altLang="zh-TW" sz="901" kern="1200" dirty="0" smtClean="0">
                <a:solidFill>
                  <a:schemeClr val="bg1"/>
                </a:solidFill>
                <a:effectLst/>
                <a:latin typeface="+mn-lt"/>
                <a:ea typeface="+mn-ea"/>
                <a:cs typeface="+mn-cs"/>
              </a:rPr>
              <a:t> </a:t>
            </a:r>
            <a:endParaRPr lang="zh-TW" altLang="zh-TW" sz="901" kern="1200" dirty="0" smtClean="0">
              <a:solidFill>
                <a:schemeClr val="bg1"/>
              </a:solidFill>
              <a:effectLst/>
              <a:latin typeface="+mn-lt"/>
              <a:ea typeface="+mn-ea"/>
              <a:cs typeface="+mn-cs"/>
            </a:endParaRPr>
          </a:p>
          <a:p>
            <a:r>
              <a:rPr lang="zh-CN" altLang="zh-TW" sz="901" kern="1200" dirty="0" smtClean="0">
                <a:solidFill>
                  <a:schemeClr val="bg1"/>
                </a:solidFill>
                <a:effectLst/>
                <a:latin typeface="+mn-lt"/>
                <a:ea typeface="+mn-ea"/>
                <a:cs typeface="+mn-cs"/>
              </a:rPr>
              <a:t>本出版物係依一般性資訊編寫而成，僅供讀者參考之用。</a:t>
            </a:r>
            <a:r>
              <a:rPr lang="en-US" altLang="zh-TW" sz="901" kern="1200" dirty="0" smtClean="0">
                <a:solidFill>
                  <a:schemeClr val="bg1"/>
                </a:solidFill>
                <a:effectLst/>
                <a:latin typeface="+mn-lt"/>
                <a:ea typeface="+mn-ea"/>
                <a:cs typeface="+mn-cs"/>
              </a:rPr>
              <a:t>Deloitte</a:t>
            </a:r>
            <a:r>
              <a:rPr lang="zh-CN" altLang="zh-TW" sz="901" kern="1200" dirty="0" smtClean="0">
                <a:solidFill>
                  <a:schemeClr val="bg1"/>
                </a:solidFill>
                <a:effectLst/>
                <a:latin typeface="+mn-lt"/>
                <a:ea typeface="+mn-ea"/>
                <a:cs typeface="+mn-cs"/>
              </a:rPr>
              <a:t>及其會員所與關聯機構</a:t>
            </a:r>
            <a:r>
              <a:rPr lang="en-US" altLang="zh-TW" sz="901" kern="1200" dirty="0" smtClean="0">
                <a:solidFill>
                  <a:schemeClr val="bg1"/>
                </a:solidFill>
                <a:effectLst/>
                <a:latin typeface="+mn-lt"/>
                <a:ea typeface="+mn-ea"/>
                <a:cs typeface="+mn-cs"/>
              </a:rPr>
              <a:t>(</a:t>
            </a:r>
            <a:r>
              <a:rPr lang="zh-CN" altLang="zh-TW" sz="901" kern="1200" dirty="0" smtClean="0">
                <a:solidFill>
                  <a:schemeClr val="bg1"/>
                </a:solidFill>
                <a:effectLst/>
                <a:latin typeface="+mn-lt"/>
                <a:ea typeface="+mn-ea"/>
                <a:cs typeface="+mn-cs"/>
              </a:rPr>
              <a:t>統稱“</a:t>
            </a:r>
            <a:r>
              <a:rPr lang="en-US" altLang="zh-TW" sz="901" kern="1200" dirty="0" smtClean="0">
                <a:solidFill>
                  <a:schemeClr val="bg1"/>
                </a:solidFill>
                <a:effectLst/>
                <a:latin typeface="+mn-lt"/>
                <a:ea typeface="+mn-ea"/>
                <a:cs typeface="+mn-cs"/>
              </a:rPr>
              <a:t>Deloitte</a:t>
            </a:r>
            <a:r>
              <a:rPr lang="zh-CN" altLang="zh-TW" sz="901" kern="1200" dirty="0" smtClean="0">
                <a:solidFill>
                  <a:schemeClr val="bg1"/>
                </a:solidFill>
                <a:effectLst/>
                <a:latin typeface="+mn-lt"/>
                <a:ea typeface="+mn-ea"/>
                <a:cs typeface="+mn-cs"/>
              </a:rPr>
              <a:t>聯盟”</a:t>
            </a:r>
            <a:r>
              <a:rPr lang="en-US" altLang="zh-TW" sz="901" kern="1200" dirty="0" smtClean="0">
                <a:solidFill>
                  <a:schemeClr val="bg1"/>
                </a:solidFill>
                <a:effectLst/>
                <a:latin typeface="+mn-lt"/>
                <a:ea typeface="+mn-ea"/>
                <a:cs typeface="+mn-cs"/>
              </a:rPr>
              <a:t>)</a:t>
            </a:r>
            <a:r>
              <a:rPr lang="zh-CN" altLang="zh-TW" sz="901" kern="1200" dirty="0" smtClean="0">
                <a:solidFill>
                  <a:schemeClr val="bg1"/>
                </a:solidFill>
                <a:effectLst/>
                <a:latin typeface="+mn-lt"/>
                <a:ea typeface="+mn-ea"/>
                <a:cs typeface="+mn-cs"/>
              </a:rPr>
              <a:t>不因本出版物而被視為對任何人提供專業意見或服務。在做成任何決定或採取任何有可能影響企業財務或企業本身的行動前，請先諮詢專業顧問。對信賴本出版物而導致損失之任何人，</a:t>
            </a:r>
            <a:r>
              <a:rPr lang="en-US" altLang="zh-TW" sz="901" kern="1200" dirty="0" smtClean="0">
                <a:solidFill>
                  <a:schemeClr val="bg1"/>
                </a:solidFill>
                <a:effectLst/>
                <a:latin typeface="+mn-lt"/>
                <a:ea typeface="+mn-ea"/>
                <a:cs typeface="+mn-cs"/>
              </a:rPr>
              <a:t>Deloitte</a:t>
            </a:r>
            <a:r>
              <a:rPr lang="zh-CN" altLang="zh-TW" sz="901" kern="1200" dirty="0" smtClean="0">
                <a:solidFill>
                  <a:schemeClr val="bg1"/>
                </a:solidFill>
                <a:effectLst/>
                <a:latin typeface="+mn-lt"/>
                <a:ea typeface="+mn-ea"/>
                <a:cs typeface="+mn-cs"/>
              </a:rPr>
              <a:t>聯盟之任一個體均不對其損失負任何責任。</a:t>
            </a:r>
            <a:endParaRPr lang="zh-TW" altLang="zh-TW" sz="901" kern="1200" dirty="0" smtClean="0">
              <a:solidFill>
                <a:schemeClr val="bg1"/>
              </a:solidFill>
              <a:effectLst/>
              <a:latin typeface="+mn-lt"/>
              <a:ea typeface="+mn-ea"/>
              <a:cs typeface="+mn-cs"/>
            </a:endParaRPr>
          </a:p>
          <a:p>
            <a:r>
              <a:rPr lang="en-US" altLang="zh-TW" sz="901" kern="1200" dirty="0" smtClean="0">
                <a:solidFill>
                  <a:schemeClr val="bg1"/>
                </a:solidFill>
                <a:effectLst/>
                <a:latin typeface="+mn-lt"/>
                <a:ea typeface="+mn-ea"/>
                <a:cs typeface="+mn-cs"/>
              </a:rPr>
              <a:t> </a:t>
            </a:r>
            <a:endParaRPr lang="zh-TW" altLang="zh-TW" sz="901" kern="1200" dirty="0" smtClean="0">
              <a:solidFill>
                <a:schemeClr val="bg1"/>
              </a:solidFill>
              <a:effectLst/>
              <a:latin typeface="+mn-lt"/>
              <a:ea typeface="+mn-ea"/>
              <a:cs typeface="+mn-cs"/>
            </a:endParaRPr>
          </a:p>
          <a:p>
            <a:r>
              <a:rPr lang="en-US" altLang="zh-TW" sz="901" kern="1200" dirty="0" smtClean="0">
                <a:solidFill>
                  <a:schemeClr val="bg1"/>
                </a:solidFill>
                <a:effectLst/>
                <a:latin typeface="+mn-lt"/>
                <a:ea typeface="+mn-ea"/>
                <a:cs typeface="+mn-cs"/>
              </a:rPr>
              <a:t>© 2021 </a:t>
            </a:r>
            <a:r>
              <a:rPr lang="zh-CN" altLang="zh-TW" sz="901" kern="1200" dirty="0" smtClean="0">
                <a:solidFill>
                  <a:schemeClr val="bg1"/>
                </a:solidFill>
                <a:effectLst/>
                <a:latin typeface="+mn-lt"/>
                <a:ea typeface="+mn-ea"/>
                <a:cs typeface="+mn-cs"/>
              </a:rPr>
              <a:t>勤業眾信版權所有 保留一切權利</a:t>
            </a:r>
            <a:endParaRPr lang="zh-TW" altLang="en-US" sz="901" b="0" dirty="0" smtClean="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224121607"/>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封底_english_法律聲明">
    <p:spTree>
      <p:nvGrpSpPr>
        <p:cNvPr id="1" name=""/>
        <p:cNvGrpSpPr/>
        <p:nvPr/>
      </p:nvGrpSpPr>
      <p:grpSpPr>
        <a:xfrm>
          <a:off x="0" y="0"/>
          <a:ext cx="0" cy="0"/>
          <a:chOff x="0" y="0"/>
          <a:chExt cx="0" cy="0"/>
        </a:xfrm>
      </p:grpSpPr>
      <p:sp>
        <p:nvSpPr>
          <p:cNvPr id="62" name="TextBox 21"/>
          <p:cNvSpPr txBox="1"/>
          <p:nvPr userDrawn="1"/>
        </p:nvSpPr>
        <p:spPr>
          <a:xfrm>
            <a:off x="-808919" y="4592996"/>
            <a:ext cx="747431" cy="431400"/>
          </a:xfrm>
          <a:prstGeom prst="rect">
            <a:avLst/>
          </a:prstGeom>
          <a:noFill/>
          <a:ln>
            <a:noFill/>
          </a:ln>
        </p:spPr>
        <p:txBody>
          <a:bodyPr wrap="square" lIns="0" tIns="0" rIns="0" bIns="0" rtlCol="0">
            <a:spAutoFit/>
          </a:bodyPr>
          <a:lstStyle/>
          <a:p>
            <a:pPr algn="r">
              <a:spcAft>
                <a:spcPts val="270"/>
              </a:spcAft>
            </a:pPr>
            <a:r>
              <a:rPr lang="en-US" sz="701" baseline="0" noProof="0" dirty="0" smtClean="0">
                <a:ln>
                  <a:noFill/>
                </a:ln>
                <a:solidFill>
                  <a:schemeClr val="bg1">
                    <a:lumMod val="65000"/>
                  </a:schemeClr>
                </a:solidFill>
              </a:rPr>
              <a:t>Grey markers</a:t>
            </a:r>
            <a:r>
              <a:rPr lang="en-US" sz="701" dirty="0" smtClean="0">
                <a:ln>
                  <a:noFill/>
                </a:ln>
                <a:solidFill>
                  <a:schemeClr val="bg1">
                    <a:lumMod val="65000"/>
                  </a:schemeClr>
                </a:solidFill>
              </a:rPr>
              <a:t> indicate position of Deloitte Drawing Guides</a:t>
            </a:r>
            <a:endParaRPr lang="en-US" sz="701" baseline="0" noProof="0" dirty="0" smtClean="0">
              <a:ln>
                <a:noFill/>
              </a:ln>
              <a:solidFill>
                <a:schemeClr val="bg1">
                  <a:lumMod val="65000"/>
                </a:schemeClr>
              </a:solidFill>
            </a:endParaRPr>
          </a:p>
        </p:txBody>
      </p:sp>
      <p:cxnSp>
        <p:nvCxnSpPr>
          <p:cNvPr id="63" name="Straight Arrow Connector 12"/>
          <p:cNvCxnSpPr/>
          <p:nvPr userDrawn="1"/>
        </p:nvCxnSpPr>
        <p:spPr>
          <a:xfrm>
            <a:off x="-381894" y="4462068"/>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4" name="Straight Arrow Connector 12"/>
          <p:cNvCxnSpPr/>
          <p:nvPr userDrawn="1"/>
        </p:nvCxnSpPr>
        <p:spPr>
          <a:xfrm>
            <a:off x="-392411"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5" name="Straight Arrow Connector 12"/>
          <p:cNvCxnSpPr/>
          <p:nvPr userDrawn="1"/>
        </p:nvCxnSpPr>
        <p:spPr>
          <a:xfrm>
            <a:off x="6015633"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6" name="Straight Arrow Connector 12"/>
          <p:cNvCxnSpPr/>
          <p:nvPr userDrawn="1"/>
        </p:nvCxnSpPr>
        <p:spPr>
          <a:xfrm>
            <a:off x="6015633" y="4463033"/>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7" name="Straight Arrow Connector 14"/>
          <p:cNvCxnSpPr/>
          <p:nvPr userDrawn="1"/>
        </p:nvCxnSpPr>
        <p:spPr>
          <a:xfrm>
            <a:off x="5738945"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8" name="Straight Arrow Connector 14"/>
          <p:cNvCxnSpPr/>
          <p:nvPr userDrawn="1"/>
        </p:nvCxnSpPr>
        <p:spPr>
          <a:xfrm>
            <a:off x="226418" y="-29095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9" name="Straight Arrow Connector 14"/>
          <p:cNvCxnSpPr/>
          <p:nvPr userDrawn="1"/>
        </p:nvCxnSpPr>
        <p:spPr>
          <a:xfrm>
            <a:off x="5738945" y="-320178"/>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0" name="Straight Arrow Connector 14"/>
          <p:cNvCxnSpPr/>
          <p:nvPr userDrawn="1"/>
        </p:nvCxnSpPr>
        <p:spPr>
          <a:xfrm>
            <a:off x="226418"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grpSp>
        <p:nvGrpSpPr>
          <p:cNvPr id="60" name="群組 59"/>
          <p:cNvGrpSpPr/>
          <p:nvPr userDrawn="1"/>
        </p:nvGrpSpPr>
        <p:grpSpPr>
          <a:xfrm>
            <a:off x="232713" y="311082"/>
            <a:ext cx="795506" cy="209156"/>
            <a:chOff x="475329" y="451571"/>
            <a:chExt cx="1624863" cy="303614"/>
          </a:xfrm>
        </p:grpSpPr>
        <p:sp>
          <p:nvSpPr>
            <p:cNvPr id="61" name="Freeform 36"/>
            <p:cNvSpPr>
              <a:spLocks/>
            </p:cNvSpPr>
            <p:nvPr/>
          </p:nvSpPr>
          <p:spPr bwMode="auto">
            <a:xfrm>
              <a:off x="2015130" y="668261"/>
              <a:ext cx="85062" cy="86924"/>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71" name="Freeform 38"/>
            <p:cNvSpPr>
              <a:spLocks noEditPoints="1"/>
            </p:cNvSpPr>
            <p:nvPr/>
          </p:nvSpPr>
          <p:spPr bwMode="auto">
            <a:xfrm>
              <a:off x="475329" y="452813"/>
              <a:ext cx="246492" cy="297405"/>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72" name="Rectangle 41"/>
            <p:cNvSpPr>
              <a:spLocks noChangeArrowheads="1"/>
            </p:cNvSpPr>
            <p:nvPr/>
          </p:nvSpPr>
          <p:spPr bwMode="auto">
            <a:xfrm>
              <a:off x="982594" y="451571"/>
              <a:ext cx="75127" cy="298647"/>
            </a:xfrm>
            <a:prstGeom prst="rect">
              <a:avLst/>
            </a:prstGeom>
            <a:solidFill>
              <a:schemeClr val="tx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73" name="Freeform 42"/>
            <p:cNvSpPr>
              <a:spLocks noEditPoints="1"/>
            </p:cNvSpPr>
            <p:nvPr/>
          </p:nvSpPr>
          <p:spPr bwMode="auto">
            <a:xfrm>
              <a:off x="1086903" y="524215"/>
              <a:ext cx="216069" cy="23034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74" name="Rectangle 45"/>
            <p:cNvSpPr>
              <a:spLocks noChangeArrowheads="1"/>
            </p:cNvSpPr>
            <p:nvPr/>
          </p:nvSpPr>
          <p:spPr bwMode="auto">
            <a:xfrm>
              <a:off x="1332775" y="527940"/>
              <a:ext cx="75127" cy="222277"/>
            </a:xfrm>
            <a:prstGeom prst="rect">
              <a:avLst/>
            </a:prstGeom>
            <a:solidFill>
              <a:schemeClr val="tx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75" name="Rectangle 46"/>
            <p:cNvSpPr>
              <a:spLocks noChangeArrowheads="1"/>
            </p:cNvSpPr>
            <p:nvPr/>
          </p:nvSpPr>
          <p:spPr bwMode="auto">
            <a:xfrm>
              <a:off x="1332775" y="451571"/>
              <a:ext cx="75127" cy="49671"/>
            </a:xfrm>
            <a:prstGeom prst="rect">
              <a:avLst/>
            </a:prstGeom>
            <a:solidFill>
              <a:schemeClr val="tx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76" name="Freeform 47"/>
            <p:cNvSpPr>
              <a:spLocks/>
            </p:cNvSpPr>
            <p:nvPr/>
          </p:nvSpPr>
          <p:spPr bwMode="auto">
            <a:xfrm>
              <a:off x="1437705" y="458401"/>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77" name="Freeform 49"/>
            <p:cNvSpPr>
              <a:spLocks/>
            </p:cNvSpPr>
            <p:nvPr/>
          </p:nvSpPr>
          <p:spPr bwMode="auto">
            <a:xfrm>
              <a:off x="1610933" y="458401"/>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78" name="Freeform 51"/>
            <p:cNvSpPr>
              <a:spLocks noEditPoints="1"/>
            </p:cNvSpPr>
            <p:nvPr/>
          </p:nvSpPr>
          <p:spPr bwMode="auto">
            <a:xfrm>
              <a:off x="1786023" y="524215"/>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79" name="Freeform 54"/>
            <p:cNvSpPr>
              <a:spLocks noEditPoints="1"/>
            </p:cNvSpPr>
            <p:nvPr/>
          </p:nvSpPr>
          <p:spPr bwMode="auto">
            <a:xfrm>
              <a:off x="744173" y="524215"/>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grpSp>
      <p:grpSp>
        <p:nvGrpSpPr>
          <p:cNvPr id="80" name="群組 79"/>
          <p:cNvGrpSpPr/>
          <p:nvPr userDrawn="1"/>
        </p:nvGrpSpPr>
        <p:grpSpPr>
          <a:xfrm>
            <a:off x="5113667" y="311082"/>
            <a:ext cx="625279" cy="205735"/>
            <a:chOff x="463716" y="867128"/>
            <a:chExt cx="1277166" cy="298647"/>
          </a:xfrm>
          <a:solidFill>
            <a:schemeClr val="tx1"/>
          </a:solidFill>
        </p:grpSpPr>
        <p:sp>
          <p:nvSpPr>
            <p:cNvPr id="81" name="Freeform 6"/>
            <p:cNvSpPr>
              <a:spLocks noEditPoints="1"/>
            </p:cNvSpPr>
            <p:nvPr/>
          </p:nvSpPr>
          <p:spPr bwMode="auto">
            <a:xfrm>
              <a:off x="463716" y="867128"/>
              <a:ext cx="287471" cy="296163"/>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dirty="0"/>
            </a:p>
          </p:txBody>
        </p:sp>
        <p:sp>
          <p:nvSpPr>
            <p:cNvPr id="82" name="Freeform 11"/>
            <p:cNvSpPr>
              <a:spLocks noEditPoints="1"/>
            </p:cNvSpPr>
            <p:nvPr/>
          </p:nvSpPr>
          <p:spPr bwMode="auto">
            <a:xfrm>
              <a:off x="790303" y="867128"/>
              <a:ext cx="297405" cy="298026"/>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83" name="Freeform 15"/>
            <p:cNvSpPr>
              <a:spLocks/>
            </p:cNvSpPr>
            <p:nvPr/>
          </p:nvSpPr>
          <p:spPr bwMode="auto">
            <a:xfrm>
              <a:off x="1119373" y="978267"/>
              <a:ext cx="283125" cy="187508"/>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84" name="Freeform 16"/>
            <p:cNvSpPr>
              <a:spLocks/>
            </p:cNvSpPr>
            <p:nvPr/>
          </p:nvSpPr>
          <p:spPr bwMode="auto">
            <a:xfrm>
              <a:off x="1286392" y="1022971"/>
              <a:ext cx="127903" cy="132249"/>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85" name="Freeform 18"/>
            <p:cNvSpPr>
              <a:spLocks noEditPoints="1"/>
            </p:cNvSpPr>
            <p:nvPr/>
          </p:nvSpPr>
          <p:spPr bwMode="auto">
            <a:xfrm>
              <a:off x="1134274" y="878925"/>
              <a:ext cx="263257" cy="93754"/>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86" name="Freeform 23"/>
            <p:cNvSpPr>
              <a:spLocks/>
            </p:cNvSpPr>
            <p:nvPr/>
          </p:nvSpPr>
          <p:spPr bwMode="auto">
            <a:xfrm>
              <a:off x="1547165" y="883271"/>
              <a:ext cx="177574" cy="26077"/>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87" name="Freeform 25"/>
            <p:cNvSpPr>
              <a:spLocks/>
            </p:cNvSpPr>
            <p:nvPr/>
          </p:nvSpPr>
          <p:spPr bwMode="auto">
            <a:xfrm>
              <a:off x="1534747" y="932321"/>
              <a:ext cx="206135" cy="29182"/>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88" name="Freeform 27"/>
            <p:cNvSpPr>
              <a:spLocks/>
            </p:cNvSpPr>
            <p:nvPr/>
          </p:nvSpPr>
          <p:spPr bwMode="auto">
            <a:xfrm>
              <a:off x="1444098" y="870232"/>
              <a:ext cx="91270" cy="294300"/>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89" name="Freeform 30"/>
            <p:cNvSpPr>
              <a:spLocks/>
            </p:cNvSpPr>
            <p:nvPr/>
          </p:nvSpPr>
          <p:spPr bwMode="auto">
            <a:xfrm>
              <a:off x="1544681" y="980751"/>
              <a:ext cx="182541" cy="26077"/>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90" name="Freeform 31"/>
            <p:cNvSpPr>
              <a:spLocks/>
            </p:cNvSpPr>
            <p:nvPr/>
          </p:nvSpPr>
          <p:spPr bwMode="auto">
            <a:xfrm>
              <a:off x="1544681" y="1025454"/>
              <a:ext cx="182541" cy="26698"/>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91" name="Freeform 33"/>
            <p:cNvSpPr>
              <a:spLocks noEditPoints="1"/>
            </p:cNvSpPr>
            <p:nvPr/>
          </p:nvSpPr>
          <p:spPr bwMode="auto">
            <a:xfrm>
              <a:off x="1547165" y="1072021"/>
              <a:ext cx="177574" cy="88787"/>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grpSp>
      <p:pic>
        <p:nvPicPr>
          <p:cNvPr id="40" name="Picture 2" descr="C:\Users\molin\Desktop\generator.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60609" y="3905680"/>
            <a:ext cx="348689" cy="490638"/>
          </a:xfrm>
          <a:prstGeom prst="rect">
            <a:avLst/>
          </a:prstGeom>
          <a:noFill/>
          <a:extLst>
            <a:ext uri="{909E8E84-426E-40DD-AFC4-6F175D3DCCD1}">
              <a14:hiddenFill xmlns:a14="http://schemas.microsoft.com/office/drawing/2010/main">
                <a:solidFill>
                  <a:srgbClr val="FFFFFF"/>
                </a:solidFill>
              </a14:hiddenFill>
            </a:ext>
          </a:extLst>
        </p:spPr>
      </p:pic>
      <p:sp>
        <p:nvSpPr>
          <p:cNvPr id="36" name="文字方塊 35"/>
          <p:cNvSpPr txBox="1"/>
          <p:nvPr userDrawn="1"/>
        </p:nvSpPr>
        <p:spPr>
          <a:xfrm>
            <a:off x="234709" y="3052529"/>
            <a:ext cx="3835818" cy="3049809"/>
          </a:xfrm>
          <a:prstGeom prst="rect">
            <a:avLst/>
          </a:prstGeom>
          <a:noFill/>
        </p:spPr>
        <p:txBody>
          <a:bodyPr wrap="square" lIns="0" tIns="0" rIns="0" bIns="0" rtlCol="0">
            <a:spAutoFit/>
          </a:bodyPr>
          <a:lstStyle/>
          <a:p>
            <a:r>
              <a:rPr lang="en-US" altLang="zh-TW" sz="901" kern="1200" dirty="0" smtClean="0">
                <a:solidFill>
                  <a:schemeClr val="tx1"/>
                </a:solidFill>
                <a:effectLst/>
                <a:latin typeface="+mn-lt"/>
                <a:ea typeface="+mn-ea"/>
                <a:cs typeface="+mn-cs"/>
              </a:rPr>
              <a:t>Deloitte refers to one or more of Deloitte </a:t>
            </a:r>
            <a:r>
              <a:rPr lang="en-US" altLang="zh-TW" sz="901" kern="1200" dirty="0" err="1" smtClean="0">
                <a:solidFill>
                  <a:schemeClr val="tx1"/>
                </a:solidFill>
                <a:effectLst/>
                <a:latin typeface="+mn-lt"/>
                <a:ea typeface="+mn-ea"/>
                <a:cs typeface="+mn-cs"/>
              </a:rPr>
              <a:t>Touche</a:t>
            </a:r>
            <a:r>
              <a:rPr lang="en-US" altLang="zh-TW" sz="901" kern="1200" dirty="0" smtClean="0">
                <a:solidFill>
                  <a:schemeClr val="tx1"/>
                </a:solidFill>
                <a:effectLst/>
                <a:latin typeface="+mn-lt"/>
                <a:ea typeface="+mn-ea"/>
                <a:cs typeface="+mn-cs"/>
              </a:rPr>
              <a:t> Tohmatsu Limited (“DTTL”), its global network of member firms, and their related entities. DTTL (also referred to as “Deloitte Global”) and each of its member firms and their affiliated entities are legally separate and independent entities. DTTL does not provide services to clients. Please see www.deloitte.com/about to learn more.</a:t>
            </a:r>
            <a:endParaRPr lang="zh-TW" altLang="zh-TW" sz="901" kern="1200" dirty="0" smtClean="0">
              <a:solidFill>
                <a:schemeClr val="tx1"/>
              </a:solidFill>
              <a:effectLst/>
              <a:latin typeface="+mn-lt"/>
              <a:ea typeface="+mn-ea"/>
              <a:cs typeface="+mn-cs"/>
            </a:endParaRPr>
          </a:p>
          <a:p>
            <a:r>
              <a:rPr lang="en-US" altLang="zh-TW" sz="901" kern="1200" dirty="0" smtClean="0">
                <a:solidFill>
                  <a:schemeClr val="tx1"/>
                </a:solidFill>
                <a:effectLst/>
                <a:latin typeface="+mn-lt"/>
                <a:ea typeface="+mn-ea"/>
                <a:cs typeface="+mn-cs"/>
              </a:rPr>
              <a:t> </a:t>
            </a:r>
            <a:endParaRPr lang="zh-TW" altLang="zh-TW" sz="901" kern="1200" dirty="0" smtClean="0">
              <a:solidFill>
                <a:schemeClr val="tx1"/>
              </a:solidFill>
              <a:effectLst/>
              <a:latin typeface="+mn-lt"/>
              <a:ea typeface="+mn-ea"/>
              <a:cs typeface="+mn-cs"/>
            </a:endParaRPr>
          </a:p>
          <a:p>
            <a:r>
              <a:rPr lang="en-US" altLang="zh-TW" sz="901" kern="1200" dirty="0" smtClean="0">
                <a:solidFill>
                  <a:schemeClr val="tx1"/>
                </a:solidFill>
                <a:effectLst/>
                <a:latin typeface="+mn-lt"/>
                <a:ea typeface="+mn-ea"/>
                <a:cs typeface="+mn-cs"/>
              </a:rPr>
              <a:t>Deloitte Asia Pacific Limited is a company limited by guarantee and a member firm of DTTL. Members of Deloitte Asia Pacific Limited and their related entities, each of which are separate and independent legal entities, provide services from more than 100 cities across the region, including Auckland, Bangkok, Beijing, Hanoi, Hong Kong, Jakarta, Kuala Lumpur, Manila, Melbourne, Osaka, Seoul, Shanghai, Singapore, Sydney, Taipei and Tokyo.</a:t>
            </a:r>
            <a:endParaRPr lang="zh-TW" altLang="zh-TW" sz="901" kern="1200" dirty="0" smtClean="0">
              <a:solidFill>
                <a:schemeClr val="tx1"/>
              </a:solidFill>
              <a:effectLst/>
              <a:latin typeface="+mn-lt"/>
              <a:ea typeface="+mn-ea"/>
              <a:cs typeface="+mn-cs"/>
            </a:endParaRPr>
          </a:p>
          <a:p>
            <a:r>
              <a:rPr lang="en-US" altLang="zh-TW" sz="901" kern="1200" dirty="0" smtClean="0">
                <a:solidFill>
                  <a:schemeClr val="tx1"/>
                </a:solidFill>
                <a:effectLst/>
                <a:latin typeface="+mn-lt"/>
                <a:ea typeface="+mn-ea"/>
                <a:cs typeface="+mn-cs"/>
              </a:rPr>
              <a:t> </a:t>
            </a:r>
            <a:endParaRPr lang="zh-TW" altLang="zh-TW" sz="901" kern="1200" dirty="0" smtClean="0">
              <a:solidFill>
                <a:schemeClr val="tx1"/>
              </a:solidFill>
              <a:effectLst/>
              <a:latin typeface="+mn-lt"/>
              <a:ea typeface="+mn-ea"/>
              <a:cs typeface="+mn-cs"/>
            </a:endParaRPr>
          </a:p>
          <a:p>
            <a:r>
              <a:rPr lang="en-US" altLang="zh-TW" sz="901" kern="1200" dirty="0" smtClean="0">
                <a:solidFill>
                  <a:schemeClr val="tx1"/>
                </a:solidFill>
                <a:effectLst/>
                <a:latin typeface="+mn-lt"/>
                <a:ea typeface="+mn-ea"/>
                <a:cs typeface="+mn-cs"/>
              </a:rPr>
              <a:t>This communication contains general information only, and none of Deloitte </a:t>
            </a:r>
            <a:r>
              <a:rPr lang="en-US" altLang="zh-TW" sz="901" kern="1200" dirty="0" err="1" smtClean="0">
                <a:solidFill>
                  <a:schemeClr val="tx1"/>
                </a:solidFill>
                <a:effectLst/>
                <a:latin typeface="+mn-lt"/>
                <a:ea typeface="+mn-ea"/>
                <a:cs typeface="+mn-cs"/>
              </a:rPr>
              <a:t>Touche</a:t>
            </a:r>
            <a:r>
              <a:rPr lang="en-US" altLang="zh-TW" sz="901" kern="1200" dirty="0" smtClean="0">
                <a:solidFill>
                  <a:schemeClr val="tx1"/>
                </a:solidFill>
                <a:effectLst/>
                <a:latin typeface="+mn-lt"/>
                <a:ea typeface="+mn-ea"/>
                <a:cs typeface="+mn-cs"/>
              </a:rPr>
              <a:t> Tohmatsu Limited, its member firms or their related entities (collectively, </a:t>
            </a:r>
            <a:r>
              <a:rPr lang="en-US" altLang="zh-TW" sz="901" kern="1200" dirty="0" err="1" smtClean="0">
                <a:solidFill>
                  <a:schemeClr val="tx1"/>
                </a:solidFill>
                <a:effectLst/>
                <a:latin typeface="+mn-lt"/>
                <a:ea typeface="+mn-ea"/>
                <a:cs typeface="+mn-cs"/>
              </a:rPr>
              <a:t>the“Deloitte</a:t>
            </a:r>
            <a:r>
              <a:rPr lang="en-US" altLang="zh-TW" sz="901" kern="1200" dirty="0" smtClean="0">
                <a:solidFill>
                  <a:schemeClr val="tx1"/>
                </a:solidFill>
                <a:effectLst/>
                <a:latin typeface="+mn-lt"/>
                <a:ea typeface="+mn-ea"/>
                <a:cs typeface="+mn-cs"/>
              </a:rPr>
              <a:t> network”) is, by means of this communication, rendering professional advice or services. Before making any decision or taking any action that may affect your finances or your business, you should consult a qualified professional adviser. No entity in the Deloitte network shall be responsible for any loss whatsoever sustained by any person who relies on this communication.</a:t>
            </a:r>
            <a:endParaRPr lang="zh-TW" altLang="zh-TW" sz="901" kern="1200" dirty="0" smtClean="0">
              <a:solidFill>
                <a:schemeClr val="tx1"/>
              </a:solidFill>
              <a:effectLst/>
              <a:latin typeface="+mn-lt"/>
              <a:ea typeface="+mn-ea"/>
              <a:cs typeface="+mn-cs"/>
            </a:endParaRPr>
          </a:p>
          <a:p>
            <a:r>
              <a:rPr lang="en-US" altLang="zh-TW" sz="901" kern="1200" dirty="0" smtClean="0">
                <a:solidFill>
                  <a:schemeClr val="tx1"/>
                </a:solidFill>
                <a:effectLst/>
                <a:latin typeface="+mn-lt"/>
                <a:ea typeface="+mn-ea"/>
                <a:cs typeface="+mn-cs"/>
              </a:rPr>
              <a:t> </a:t>
            </a:r>
            <a:endParaRPr lang="zh-TW" altLang="zh-TW" sz="901" kern="1200" dirty="0" smtClean="0">
              <a:solidFill>
                <a:schemeClr val="tx1"/>
              </a:solidFill>
              <a:effectLst/>
              <a:latin typeface="+mn-lt"/>
              <a:ea typeface="+mn-ea"/>
              <a:cs typeface="+mn-cs"/>
            </a:endParaRPr>
          </a:p>
          <a:p>
            <a:r>
              <a:rPr lang="en-US" altLang="zh-TW" sz="901" kern="1200" dirty="0" smtClean="0">
                <a:solidFill>
                  <a:schemeClr val="tx1"/>
                </a:solidFill>
                <a:effectLst/>
                <a:latin typeface="+mn-lt"/>
                <a:ea typeface="+mn-ea"/>
                <a:cs typeface="+mn-cs"/>
              </a:rPr>
              <a:t>© 2021 Deloitte Asia Pacific Services Limited.</a:t>
            </a:r>
            <a:endParaRPr lang="en-US" altLang="zh-TW" sz="901" b="0" dirty="0" smtClean="0">
              <a:solidFill>
                <a:schemeClr val="tx1"/>
              </a:solidFill>
              <a:latin typeface="+mn-lt"/>
              <a:cs typeface="Calibri" panose="020F0502020204030204" pitchFamily="34" charset="0"/>
            </a:endParaRPr>
          </a:p>
        </p:txBody>
      </p:sp>
    </p:spTree>
    <p:extLst>
      <p:ext uri="{BB962C8B-B14F-4D97-AF65-F5344CB8AC3E}">
        <p14:creationId xmlns:p14="http://schemas.microsoft.com/office/powerpoint/2010/main" val="325044030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封底_english_法律聲明">
    <p:bg>
      <p:bgPr>
        <a:solidFill>
          <a:schemeClr val="tx1"/>
        </a:solidFill>
        <a:effectLst/>
      </p:bgPr>
    </p:bg>
    <p:spTree>
      <p:nvGrpSpPr>
        <p:cNvPr id="1" name=""/>
        <p:cNvGrpSpPr/>
        <p:nvPr/>
      </p:nvGrpSpPr>
      <p:grpSpPr>
        <a:xfrm>
          <a:off x="0" y="0"/>
          <a:ext cx="0" cy="0"/>
          <a:chOff x="0" y="0"/>
          <a:chExt cx="0" cy="0"/>
        </a:xfrm>
      </p:grpSpPr>
      <p:sp>
        <p:nvSpPr>
          <p:cNvPr id="62" name="TextBox 21"/>
          <p:cNvSpPr txBox="1"/>
          <p:nvPr userDrawn="1"/>
        </p:nvSpPr>
        <p:spPr>
          <a:xfrm>
            <a:off x="-808919" y="4592996"/>
            <a:ext cx="747431" cy="431400"/>
          </a:xfrm>
          <a:prstGeom prst="rect">
            <a:avLst/>
          </a:prstGeom>
          <a:noFill/>
          <a:ln>
            <a:noFill/>
          </a:ln>
        </p:spPr>
        <p:txBody>
          <a:bodyPr wrap="square" lIns="0" tIns="0" rIns="0" bIns="0" rtlCol="0">
            <a:spAutoFit/>
          </a:bodyPr>
          <a:lstStyle/>
          <a:p>
            <a:pPr algn="r">
              <a:spcAft>
                <a:spcPts val="270"/>
              </a:spcAft>
            </a:pPr>
            <a:r>
              <a:rPr lang="en-US" sz="701" baseline="0" noProof="0" dirty="0" smtClean="0">
                <a:ln>
                  <a:noFill/>
                </a:ln>
                <a:solidFill>
                  <a:schemeClr val="bg1">
                    <a:lumMod val="65000"/>
                  </a:schemeClr>
                </a:solidFill>
              </a:rPr>
              <a:t>Grey markers</a:t>
            </a:r>
            <a:r>
              <a:rPr lang="en-US" sz="701" dirty="0" smtClean="0">
                <a:ln>
                  <a:noFill/>
                </a:ln>
                <a:solidFill>
                  <a:schemeClr val="bg1">
                    <a:lumMod val="65000"/>
                  </a:schemeClr>
                </a:solidFill>
              </a:rPr>
              <a:t> indicate position of Deloitte Drawing Guides</a:t>
            </a:r>
            <a:endParaRPr lang="en-US" sz="701" baseline="0" noProof="0" dirty="0" smtClean="0">
              <a:ln>
                <a:noFill/>
              </a:ln>
              <a:solidFill>
                <a:schemeClr val="bg1">
                  <a:lumMod val="65000"/>
                </a:schemeClr>
              </a:solidFill>
            </a:endParaRPr>
          </a:p>
        </p:txBody>
      </p:sp>
      <p:cxnSp>
        <p:nvCxnSpPr>
          <p:cNvPr id="63" name="Straight Arrow Connector 12"/>
          <p:cNvCxnSpPr/>
          <p:nvPr userDrawn="1"/>
        </p:nvCxnSpPr>
        <p:spPr>
          <a:xfrm>
            <a:off x="-381894" y="4462068"/>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4" name="Straight Arrow Connector 12"/>
          <p:cNvCxnSpPr/>
          <p:nvPr userDrawn="1"/>
        </p:nvCxnSpPr>
        <p:spPr>
          <a:xfrm>
            <a:off x="-392411"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5" name="Straight Arrow Connector 12"/>
          <p:cNvCxnSpPr/>
          <p:nvPr userDrawn="1"/>
        </p:nvCxnSpPr>
        <p:spPr>
          <a:xfrm>
            <a:off x="6015633"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6" name="Straight Arrow Connector 12"/>
          <p:cNvCxnSpPr/>
          <p:nvPr userDrawn="1"/>
        </p:nvCxnSpPr>
        <p:spPr>
          <a:xfrm>
            <a:off x="6015633" y="4463033"/>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7" name="Straight Arrow Connector 14"/>
          <p:cNvCxnSpPr/>
          <p:nvPr userDrawn="1"/>
        </p:nvCxnSpPr>
        <p:spPr>
          <a:xfrm>
            <a:off x="5738945"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8" name="Straight Arrow Connector 14"/>
          <p:cNvCxnSpPr/>
          <p:nvPr userDrawn="1"/>
        </p:nvCxnSpPr>
        <p:spPr>
          <a:xfrm>
            <a:off x="226418" y="-29095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9" name="Straight Arrow Connector 14"/>
          <p:cNvCxnSpPr/>
          <p:nvPr userDrawn="1"/>
        </p:nvCxnSpPr>
        <p:spPr>
          <a:xfrm>
            <a:off x="5738945" y="-320178"/>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0" name="Straight Arrow Connector 14"/>
          <p:cNvCxnSpPr/>
          <p:nvPr userDrawn="1"/>
        </p:nvCxnSpPr>
        <p:spPr>
          <a:xfrm>
            <a:off x="226418"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pic>
        <p:nvPicPr>
          <p:cNvPr id="40" name="Picture 2" descr="C:\Users\molin\Desktop\generator.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60609" y="3905680"/>
            <a:ext cx="348689" cy="490638"/>
          </a:xfrm>
          <a:prstGeom prst="rect">
            <a:avLst/>
          </a:prstGeom>
          <a:noFill/>
          <a:extLst>
            <a:ext uri="{909E8E84-426E-40DD-AFC4-6F175D3DCCD1}">
              <a14:hiddenFill xmlns:a14="http://schemas.microsoft.com/office/drawing/2010/main">
                <a:solidFill>
                  <a:srgbClr val="FFFFFF"/>
                </a:solidFill>
              </a14:hiddenFill>
            </a:ext>
          </a:extLst>
        </p:spPr>
      </p:pic>
      <p:grpSp>
        <p:nvGrpSpPr>
          <p:cNvPr id="36" name="群組 35"/>
          <p:cNvGrpSpPr/>
          <p:nvPr userDrawn="1"/>
        </p:nvGrpSpPr>
        <p:grpSpPr>
          <a:xfrm>
            <a:off x="5113667" y="311082"/>
            <a:ext cx="625279" cy="205735"/>
            <a:chOff x="463716" y="867128"/>
            <a:chExt cx="1277166" cy="298647"/>
          </a:xfrm>
        </p:grpSpPr>
        <p:sp>
          <p:nvSpPr>
            <p:cNvPr id="37" name="Freeform 6"/>
            <p:cNvSpPr>
              <a:spLocks noEditPoints="1"/>
            </p:cNvSpPr>
            <p:nvPr/>
          </p:nvSpPr>
          <p:spPr bwMode="auto">
            <a:xfrm>
              <a:off x="463716" y="867128"/>
              <a:ext cx="287471" cy="296163"/>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dirty="0"/>
            </a:p>
          </p:txBody>
        </p:sp>
        <p:sp>
          <p:nvSpPr>
            <p:cNvPr id="38" name="Freeform 11"/>
            <p:cNvSpPr>
              <a:spLocks noEditPoints="1"/>
            </p:cNvSpPr>
            <p:nvPr/>
          </p:nvSpPr>
          <p:spPr bwMode="auto">
            <a:xfrm>
              <a:off x="790303" y="867128"/>
              <a:ext cx="297405" cy="298026"/>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1" name="Freeform 15"/>
            <p:cNvSpPr>
              <a:spLocks/>
            </p:cNvSpPr>
            <p:nvPr/>
          </p:nvSpPr>
          <p:spPr bwMode="auto">
            <a:xfrm>
              <a:off x="1119373" y="978267"/>
              <a:ext cx="283125" cy="187508"/>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42" name="Freeform 16"/>
            <p:cNvSpPr>
              <a:spLocks/>
            </p:cNvSpPr>
            <p:nvPr/>
          </p:nvSpPr>
          <p:spPr bwMode="auto">
            <a:xfrm>
              <a:off x="1286392" y="1022971"/>
              <a:ext cx="127903" cy="132249"/>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3" name="Freeform 18"/>
            <p:cNvSpPr>
              <a:spLocks noEditPoints="1"/>
            </p:cNvSpPr>
            <p:nvPr/>
          </p:nvSpPr>
          <p:spPr bwMode="auto">
            <a:xfrm>
              <a:off x="1134274" y="878925"/>
              <a:ext cx="263257" cy="93754"/>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4" name="Freeform 23"/>
            <p:cNvSpPr>
              <a:spLocks/>
            </p:cNvSpPr>
            <p:nvPr/>
          </p:nvSpPr>
          <p:spPr bwMode="auto">
            <a:xfrm>
              <a:off x="1547165" y="883271"/>
              <a:ext cx="177574" cy="26077"/>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5" name="Freeform 25"/>
            <p:cNvSpPr>
              <a:spLocks/>
            </p:cNvSpPr>
            <p:nvPr/>
          </p:nvSpPr>
          <p:spPr bwMode="auto">
            <a:xfrm>
              <a:off x="1534747" y="932321"/>
              <a:ext cx="206135" cy="29182"/>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6" name="Freeform 27"/>
            <p:cNvSpPr>
              <a:spLocks/>
            </p:cNvSpPr>
            <p:nvPr/>
          </p:nvSpPr>
          <p:spPr bwMode="auto">
            <a:xfrm>
              <a:off x="1444098" y="870232"/>
              <a:ext cx="91270" cy="294300"/>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7" name="Freeform 30"/>
            <p:cNvSpPr>
              <a:spLocks/>
            </p:cNvSpPr>
            <p:nvPr/>
          </p:nvSpPr>
          <p:spPr bwMode="auto">
            <a:xfrm>
              <a:off x="1544681" y="980751"/>
              <a:ext cx="182541" cy="26077"/>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8" name="Freeform 31"/>
            <p:cNvSpPr>
              <a:spLocks/>
            </p:cNvSpPr>
            <p:nvPr/>
          </p:nvSpPr>
          <p:spPr bwMode="auto">
            <a:xfrm>
              <a:off x="1544681" y="1025454"/>
              <a:ext cx="182541" cy="26698"/>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9" name="Freeform 33"/>
            <p:cNvSpPr>
              <a:spLocks noEditPoints="1"/>
            </p:cNvSpPr>
            <p:nvPr/>
          </p:nvSpPr>
          <p:spPr bwMode="auto">
            <a:xfrm>
              <a:off x="1547165" y="1072021"/>
              <a:ext cx="177574" cy="88787"/>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grpSp>
      <p:grpSp>
        <p:nvGrpSpPr>
          <p:cNvPr id="50" name="群組 49"/>
          <p:cNvGrpSpPr/>
          <p:nvPr userDrawn="1"/>
        </p:nvGrpSpPr>
        <p:grpSpPr>
          <a:xfrm>
            <a:off x="226420" y="317197"/>
            <a:ext cx="795506" cy="209156"/>
            <a:chOff x="462474" y="460447"/>
            <a:chExt cx="1624863" cy="303614"/>
          </a:xfrm>
        </p:grpSpPr>
        <p:sp>
          <p:nvSpPr>
            <p:cNvPr id="51" name="Freeform 36"/>
            <p:cNvSpPr>
              <a:spLocks/>
            </p:cNvSpPr>
            <p:nvPr/>
          </p:nvSpPr>
          <p:spPr bwMode="auto">
            <a:xfrm>
              <a:off x="2002275" y="677137"/>
              <a:ext cx="85062" cy="86924"/>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52" name="Freeform 38"/>
            <p:cNvSpPr>
              <a:spLocks noEditPoints="1"/>
            </p:cNvSpPr>
            <p:nvPr/>
          </p:nvSpPr>
          <p:spPr bwMode="auto">
            <a:xfrm>
              <a:off x="462474" y="461689"/>
              <a:ext cx="246492" cy="297405"/>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53" name="Rectangle 41"/>
            <p:cNvSpPr>
              <a:spLocks noChangeArrowheads="1"/>
            </p:cNvSpPr>
            <p:nvPr/>
          </p:nvSpPr>
          <p:spPr bwMode="auto">
            <a:xfrm>
              <a:off x="969739" y="460447"/>
              <a:ext cx="75127" cy="298647"/>
            </a:xfrm>
            <a:prstGeom prst="rect">
              <a:avLst/>
            </a:prstGeom>
            <a:solidFill>
              <a:schemeClr val="bg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54" name="Freeform 42"/>
            <p:cNvSpPr>
              <a:spLocks noEditPoints="1"/>
            </p:cNvSpPr>
            <p:nvPr/>
          </p:nvSpPr>
          <p:spPr bwMode="auto">
            <a:xfrm>
              <a:off x="1074048" y="533091"/>
              <a:ext cx="216069" cy="23034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55" name="Rectangle 45"/>
            <p:cNvSpPr>
              <a:spLocks noChangeArrowheads="1"/>
            </p:cNvSpPr>
            <p:nvPr/>
          </p:nvSpPr>
          <p:spPr bwMode="auto">
            <a:xfrm>
              <a:off x="1319920" y="536816"/>
              <a:ext cx="75127" cy="222277"/>
            </a:xfrm>
            <a:prstGeom prst="rect">
              <a:avLst/>
            </a:prstGeom>
            <a:solidFill>
              <a:schemeClr val="bg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56" name="Rectangle 46"/>
            <p:cNvSpPr>
              <a:spLocks noChangeArrowheads="1"/>
            </p:cNvSpPr>
            <p:nvPr/>
          </p:nvSpPr>
          <p:spPr bwMode="auto">
            <a:xfrm>
              <a:off x="1319920" y="460447"/>
              <a:ext cx="75127" cy="49671"/>
            </a:xfrm>
            <a:prstGeom prst="rect">
              <a:avLst/>
            </a:prstGeom>
            <a:solidFill>
              <a:schemeClr val="bg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57" name="Freeform 47"/>
            <p:cNvSpPr>
              <a:spLocks/>
            </p:cNvSpPr>
            <p:nvPr/>
          </p:nvSpPr>
          <p:spPr bwMode="auto">
            <a:xfrm>
              <a:off x="1424850" y="467277"/>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58" name="Freeform 49"/>
            <p:cNvSpPr>
              <a:spLocks/>
            </p:cNvSpPr>
            <p:nvPr/>
          </p:nvSpPr>
          <p:spPr bwMode="auto">
            <a:xfrm>
              <a:off x="1598078" y="467277"/>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59" name="Freeform 51"/>
            <p:cNvSpPr>
              <a:spLocks noEditPoints="1"/>
            </p:cNvSpPr>
            <p:nvPr/>
          </p:nvSpPr>
          <p:spPr bwMode="auto">
            <a:xfrm>
              <a:off x="1773168" y="533091"/>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92" name="Freeform 54"/>
            <p:cNvSpPr>
              <a:spLocks noEditPoints="1"/>
            </p:cNvSpPr>
            <p:nvPr/>
          </p:nvSpPr>
          <p:spPr bwMode="auto">
            <a:xfrm>
              <a:off x="731318" y="533091"/>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grpSp>
      <p:sp>
        <p:nvSpPr>
          <p:cNvPr id="39" name="文字方塊 38"/>
          <p:cNvSpPr txBox="1"/>
          <p:nvPr userDrawn="1"/>
        </p:nvSpPr>
        <p:spPr>
          <a:xfrm>
            <a:off x="234710" y="3052529"/>
            <a:ext cx="3848253" cy="3049809"/>
          </a:xfrm>
          <a:prstGeom prst="rect">
            <a:avLst/>
          </a:prstGeom>
          <a:noFill/>
        </p:spPr>
        <p:txBody>
          <a:bodyPr wrap="square" lIns="0" tIns="0" rIns="0" bIns="0" rtlCol="0">
            <a:spAutoFit/>
          </a:bodyPr>
          <a:lstStyle/>
          <a:p>
            <a:r>
              <a:rPr lang="en-US" altLang="zh-TW" sz="901" kern="1200" dirty="0" smtClean="0">
                <a:solidFill>
                  <a:schemeClr val="bg1"/>
                </a:solidFill>
                <a:effectLst/>
                <a:latin typeface="+mn-lt"/>
                <a:ea typeface="+mn-ea"/>
                <a:cs typeface="+mn-cs"/>
              </a:rPr>
              <a:t>Deloitte refers to one or more of Deloitte </a:t>
            </a:r>
            <a:r>
              <a:rPr lang="en-US" altLang="zh-TW" sz="901" kern="1200" dirty="0" err="1" smtClean="0">
                <a:solidFill>
                  <a:schemeClr val="bg1"/>
                </a:solidFill>
                <a:effectLst/>
                <a:latin typeface="+mn-lt"/>
                <a:ea typeface="+mn-ea"/>
                <a:cs typeface="+mn-cs"/>
              </a:rPr>
              <a:t>Touche</a:t>
            </a:r>
            <a:r>
              <a:rPr lang="en-US" altLang="zh-TW" sz="901" kern="1200" dirty="0" smtClean="0">
                <a:solidFill>
                  <a:schemeClr val="bg1"/>
                </a:solidFill>
                <a:effectLst/>
                <a:latin typeface="+mn-lt"/>
                <a:ea typeface="+mn-ea"/>
                <a:cs typeface="+mn-cs"/>
              </a:rPr>
              <a:t> Tohmatsu Limited (“DTTL”), its global network of member firms, and their related entities. DTTL (also referred to as “Deloitte Global”) and each of its member firms and their affiliated entities are legally separate and independent entities. DTTL does not provide services to clients. Please see www.deloitte.com/about to learn more.</a:t>
            </a:r>
            <a:endParaRPr lang="zh-TW" altLang="zh-TW" sz="901" kern="1200" dirty="0" smtClean="0">
              <a:solidFill>
                <a:schemeClr val="bg1"/>
              </a:solidFill>
              <a:effectLst/>
              <a:latin typeface="+mn-lt"/>
              <a:ea typeface="+mn-ea"/>
              <a:cs typeface="+mn-cs"/>
            </a:endParaRPr>
          </a:p>
          <a:p>
            <a:r>
              <a:rPr lang="en-US" altLang="zh-TW" sz="901" kern="1200" dirty="0" smtClean="0">
                <a:solidFill>
                  <a:schemeClr val="bg1"/>
                </a:solidFill>
                <a:effectLst/>
                <a:latin typeface="+mn-lt"/>
                <a:ea typeface="+mn-ea"/>
                <a:cs typeface="+mn-cs"/>
              </a:rPr>
              <a:t> </a:t>
            </a:r>
            <a:endParaRPr lang="zh-TW" altLang="zh-TW" sz="901" kern="1200" dirty="0" smtClean="0">
              <a:solidFill>
                <a:schemeClr val="bg1"/>
              </a:solidFill>
              <a:effectLst/>
              <a:latin typeface="+mn-lt"/>
              <a:ea typeface="+mn-ea"/>
              <a:cs typeface="+mn-cs"/>
            </a:endParaRPr>
          </a:p>
          <a:p>
            <a:r>
              <a:rPr lang="en-US" altLang="zh-TW" sz="901" kern="1200" dirty="0" smtClean="0">
                <a:solidFill>
                  <a:schemeClr val="bg1"/>
                </a:solidFill>
                <a:effectLst/>
                <a:latin typeface="+mn-lt"/>
                <a:ea typeface="+mn-ea"/>
                <a:cs typeface="+mn-cs"/>
              </a:rPr>
              <a:t>Deloitte Asia Pacific Limited is a company limited by guarantee and a member firm of DTTL. Members of Deloitte Asia Pacific Limited and their related entities, each of which are separate and independent legal entities, provide services from more than 100 cities across the region, including Auckland, Bangkok, Beijing, Hanoi, Hong Kong, Jakarta, Kuala Lumpur, Manila, Melbourne, Osaka, Seoul, Shanghai, Singapore, Sydney, Taipei and Tokyo.</a:t>
            </a:r>
            <a:endParaRPr lang="zh-TW" altLang="zh-TW" sz="901" kern="1200" dirty="0" smtClean="0">
              <a:solidFill>
                <a:schemeClr val="bg1"/>
              </a:solidFill>
              <a:effectLst/>
              <a:latin typeface="+mn-lt"/>
              <a:ea typeface="+mn-ea"/>
              <a:cs typeface="+mn-cs"/>
            </a:endParaRPr>
          </a:p>
          <a:p>
            <a:r>
              <a:rPr lang="en-US" altLang="zh-TW" sz="901" kern="1200" dirty="0" smtClean="0">
                <a:solidFill>
                  <a:schemeClr val="bg1"/>
                </a:solidFill>
                <a:effectLst/>
                <a:latin typeface="+mn-lt"/>
                <a:ea typeface="+mn-ea"/>
                <a:cs typeface="+mn-cs"/>
              </a:rPr>
              <a:t> </a:t>
            </a:r>
            <a:endParaRPr lang="zh-TW" altLang="zh-TW" sz="901" kern="1200" dirty="0" smtClean="0">
              <a:solidFill>
                <a:schemeClr val="bg1"/>
              </a:solidFill>
              <a:effectLst/>
              <a:latin typeface="+mn-lt"/>
              <a:ea typeface="+mn-ea"/>
              <a:cs typeface="+mn-cs"/>
            </a:endParaRPr>
          </a:p>
          <a:p>
            <a:r>
              <a:rPr lang="en-US" altLang="zh-TW" sz="901" kern="1200" dirty="0" smtClean="0">
                <a:solidFill>
                  <a:schemeClr val="bg1"/>
                </a:solidFill>
                <a:effectLst/>
                <a:latin typeface="+mn-lt"/>
                <a:ea typeface="+mn-ea"/>
                <a:cs typeface="+mn-cs"/>
              </a:rPr>
              <a:t>This communication contains general information only, and none of Deloitte </a:t>
            </a:r>
            <a:r>
              <a:rPr lang="en-US" altLang="zh-TW" sz="901" kern="1200" dirty="0" err="1" smtClean="0">
                <a:solidFill>
                  <a:schemeClr val="bg1"/>
                </a:solidFill>
                <a:effectLst/>
                <a:latin typeface="+mn-lt"/>
                <a:ea typeface="+mn-ea"/>
                <a:cs typeface="+mn-cs"/>
              </a:rPr>
              <a:t>Touche</a:t>
            </a:r>
            <a:r>
              <a:rPr lang="en-US" altLang="zh-TW" sz="901" kern="1200" dirty="0" smtClean="0">
                <a:solidFill>
                  <a:schemeClr val="bg1"/>
                </a:solidFill>
                <a:effectLst/>
                <a:latin typeface="+mn-lt"/>
                <a:ea typeface="+mn-ea"/>
                <a:cs typeface="+mn-cs"/>
              </a:rPr>
              <a:t> Tohmatsu Limited, its member firms or their related entities (collectively, </a:t>
            </a:r>
            <a:r>
              <a:rPr lang="en-US" altLang="zh-TW" sz="901" kern="1200" dirty="0" err="1" smtClean="0">
                <a:solidFill>
                  <a:schemeClr val="bg1"/>
                </a:solidFill>
                <a:effectLst/>
                <a:latin typeface="+mn-lt"/>
                <a:ea typeface="+mn-ea"/>
                <a:cs typeface="+mn-cs"/>
              </a:rPr>
              <a:t>the“Deloitte</a:t>
            </a:r>
            <a:r>
              <a:rPr lang="en-US" altLang="zh-TW" sz="901" kern="1200" dirty="0" smtClean="0">
                <a:solidFill>
                  <a:schemeClr val="bg1"/>
                </a:solidFill>
                <a:effectLst/>
                <a:latin typeface="+mn-lt"/>
                <a:ea typeface="+mn-ea"/>
                <a:cs typeface="+mn-cs"/>
              </a:rPr>
              <a:t> network”) is, by means of this communication, rendering professional advice or services. Before making any decision or taking any action that may affect your finances or your business, you should consult a qualified professional adviser. No entity in the Deloitte network shall be responsible for any loss whatsoever sustained by any person who relies on this communication.</a:t>
            </a:r>
            <a:endParaRPr lang="zh-TW" altLang="zh-TW" sz="901" kern="1200" dirty="0" smtClean="0">
              <a:solidFill>
                <a:schemeClr val="bg1"/>
              </a:solidFill>
              <a:effectLst/>
              <a:latin typeface="+mn-lt"/>
              <a:ea typeface="+mn-ea"/>
              <a:cs typeface="+mn-cs"/>
            </a:endParaRPr>
          </a:p>
          <a:p>
            <a:r>
              <a:rPr lang="en-US" altLang="zh-TW" sz="901" kern="1200" dirty="0" smtClean="0">
                <a:solidFill>
                  <a:schemeClr val="bg1"/>
                </a:solidFill>
                <a:effectLst/>
                <a:latin typeface="+mn-lt"/>
                <a:ea typeface="+mn-ea"/>
                <a:cs typeface="+mn-cs"/>
              </a:rPr>
              <a:t> </a:t>
            </a:r>
            <a:endParaRPr lang="zh-TW" altLang="zh-TW" sz="901" kern="1200" dirty="0" smtClean="0">
              <a:solidFill>
                <a:schemeClr val="bg1"/>
              </a:solidFill>
              <a:effectLst/>
              <a:latin typeface="+mn-lt"/>
              <a:ea typeface="+mn-ea"/>
              <a:cs typeface="+mn-cs"/>
            </a:endParaRPr>
          </a:p>
          <a:p>
            <a:r>
              <a:rPr lang="en-US" altLang="zh-TW" sz="901" kern="1200" dirty="0" smtClean="0">
                <a:solidFill>
                  <a:schemeClr val="bg1"/>
                </a:solidFill>
                <a:effectLst/>
                <a:latin typeface="+mn-lt"/>
                <a:ea typeface="+mn-ea"/>
                <a:cs typeface="+mn-cs"/>
              </a:rPr>
              <a:t>© 2021 Deloitte Asia Pacific Services Limited.</a:t>
            </a:r>
            <a:endParaRPr lang="en-US" altLang="zh-TW" sz="901" b="0" dirty="0" smtClean="0">
              <a:solidFill>
                <a:schemeClr val="bg1"/>
              </a:solidFill>
              <a:latin typeface="+mn-lt"/>
              <a:cs typeface="Calibri" panose="020F0502020204030204" pitchFamily="34" charset="0"/>
            </a:endParaRPr>
          </a:p>
        </p:txBody>
      </p:sp>
    </p:spTree>
    <p:extLst>
      <p:ext uri="{BB962C8B-B14F-4D97-AF65-F5344CB8AC3E}">
        <p14:creationId xmlns:p14="http://schemas.microsoft.com/office/powerpoint/2010/main" val="13631471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首頁_黑底文字">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061219" y="1054310"/>
            <a:ext cx="1850625" cy="2604000"/>
          </a:xfrm>
          <a:prstGeom prst="ellipse">
            <a:avLst/>
          </a:prstGeom>
          <a:ln w="25400">
            <a:solidFill>
              <a:schemeClr val="accent1"/>
            </a:solidFill>
          </a:ln>
        </p:spPr>
        <p:txBody>
          <a:bodyPr lIns="108000" tIns="108000" rIns="108000" bIns="108000" anchor="ctr" anchorCtr="0">
            <a:normAutofit/>
          </a:bodyPr>
          <a:lstStyle>
            <a:lvl1pPr algn="ctr">
              <a:lnSpc>
                <a:spcPts val="3799"/>
              </a:lnSpc>
              <a:defRPr sz="3201" b="0">
                <a:solidFill>
                  <a:schemeClr val="bg1"/>
                </a:solidFill>
                <a:latin typeface="+mj-lt"/>
                <a:ea typeface="+mj-ea"/>
                <a:cs typeface="Open Sans" panose="020B0606030504020204" pitchFamily="34" charset="0"/>
              </a:defRPr>
            </a:lvl1pPr>
          </a:lstStyle>
          <a:p>
            <a:r>
              <a:rPr lang="zh-TW" altLang="en-US" noProof="0" smtClean="0"/>
              <a:t>按一下以編輯母片標題樣式</a:t>
            </a:r>
            <a:endParaRPr lang="en-US" noProof="0" dirty="0"/>
          </a:p>
        </p:txBody>
      </p:sp>
      <p:sp>
        <p:nvSpPr>
          <p:cNvPr id="3" name="Subtitle 2"/>
          <p:cNvSpPr>
            <a:spLocks noGrp="1"/>
          </p:cNvSpPr>
          <p:nvPr>
            <p:ph type="subTitle" idx="1"/>
          </p:nvPr>
        </p:nvSpPr>
        <p:spPr bwMode="gray">
          <a:xfrm>
            <a:off x="232651" y="4026685"/>
            <a:ext cx="2737755" cy="348333"/>
          </a:xfrm>
          <a:prstGeom prst="rect">
            <a:avLst/>
          </a:prstGeom>
        </p:spPr>
        <p:txBody>
          <a:bodyPr lIns="0" tIns="0" rIns="0" bIns="0" anchor="b" anchorCtr="0">
            <a:noAutofit/>
          </a:bodyPr>
          <a:lstStyle>
            <a:lvl1pPr marL="0" indent="0" algn="l">
              <a:lnSpc>
                <a:spcPct val="100000"/>
              </a:lnSpc>
              <a:spcAft>
                <a:spcPts val="0"/>
              </a:spcAft>
              <a:buNone/>
              <a:defRPr sz="1599">
                <a:solidFill>
                  <a:schemeClr val="bg1"/>
                </a:solidFill>
                <a:latin typeface="+mj-lt"/>
              </a:defRPr>
            </a:lvl1pPr>
            <a:lvl2pPr marL="609589" indent="0" algn="ctr">
              <a:buNone/>
              <a:defRPr sz="2668"/>
            </a:lvl2pPr>
            <a:lvl3pPr marL="1219179" indent="0" algn="ctr">
              <a:buNone/>
              <a:defRPr sz="2400"/>
            </a:lvl3pPr>
            <a:lvl4pPr marL="1828768" indent="0" algn="ctr">
              <a:buNone/>
              <a:defRPr sz="2132"/>
            </a:lvl4pPr>
            <a:lvl5pPr marL="2438358" indent="0" algn="ctr">
              <a:buNone/>
              <a:defRPr sz="2132"/>
            </a:lvl5pPr>
            <a:lvl6pPr marL="3047945" indent="0" algn="ctr">
              <a:buNone/>
              <a:defRPr sz="2132"/>
            </a:lvl6pPr>
            <a:lvl7pPr marL="3657535" indent="0" algn="ctr">
              <a:buNone/>
              <a:defRPr sz="2132"/>
            </a:lvl7pPr>
            <a:lvl8pPr marL="4267122" indent="0" algn="ctr">
              <a:buNone/>
              <a:defRPr sz="2132"/>
            </a:lvl8pPr>
            <a:lvl9pPr marL="4876714" indent="0" algn="ctr">
              <a:buNone/>
              <a:defRPr sz="2132"/>
            </a:lvl9pPr>
          </a:lstStyle>
          <a:p>
            <a:r>
              <a:rPr lang="zh-TW" altLang="en-US" noProof="0" smtClean="0"/>
              <a:t>按一下以編輯母片副標題樣式</a:t>
            </a:r>
            <a:endParaRPr lang="en-US" noProof="0" dirty="0"/>
          </a:p>
        </p:txBody>
      </p:sp>
      <p:sp>
        <p:nvSpPr>
          <p:cNvPr id="5" name="Text Placeholder 4"/>
          <p:cNvSpPr>
            <a:spLocks noGrp="1"/>
          </p:cNvSpPr>
          <p:nvPr>
            <p:ph type="body" sz="quarter" idx="10"/>
          </p:nvPr>
        </p:nvSpPr>
        <p:spPr>
          <a:xfrm>
            <a:off x="232650" y="4383197"/>
            <a:ext cx="2738900" cy="205600"/>
          </a:xfrm>
          <a:prstGeom prst="rect">
            <a:avLst/>
          </a:prstGeom>
        </p:spPr>
        <p:txBody>
          <a:bodyPr/>
          <a:lstStyle>
            <a:lvl1pPr>
              <a:spcAft>
                <a:spcPts val="0"/>
              </a:spcAft>
              <a:defRPr sz="1052">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TW" altLang="en-US" noProof="0" smtClean="0"/>
              <a:t>編輯母片文字樣式</a:t>
            </a:r>
          </a:p>
        </p:txBody>
      </p:sp>
      <p:grpSp>
        <p:nvGrpSpPr>
          <p:cNvPr id="4" name="群組 3"/>
          <p:cNvGrpSpPr/>
          <p:nvPr userDrawn="1"/>
        </p:nvGrpSpPr>
        <p:grpSpPr>
          <a:xfrm>
            <a:off x="226420" y="317197"/>
            <a:ext cx="795506" cy="209156"/>
            <a:chOff x="462474" y="460447"/>
            <a:chExt cx="1624863" cy="303614"/>
          </a:xfrm>
        </p:grpSpPr>
        <p:sp>
          <p:nvSpPr>
            <p:cNvPr id="39" name="Freeform 36"/>
            <p:cNvSpPr>
              <a:spLocks/>
            </p:cNvSpPr>
            <p:nvPr/>
          </p:nvSpPr>
          <p:spPr bwMode="auto">
            <a:xfrm>
              <a:off x="2002275" y="677137"/>
              <a:ext cx="85062" cy="86924"/>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0" name="Freeform 38"/>
            <p:cNvSpPr>
              <a:spLocks noEditPoints="1"/>
            </p:cNvSpPr>
            <p:nvPr/>
          </p:nvSpPr>
          <p:spPr bwMode="auto">
            <a:xfrm>
              <a:off x="462474" y="461689"/>
              <a:ext cx="246492" cy="297405"/>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1" name="Rectangle 41"/>
            <p:cNvSpPr>
              <a:spLocks noChangeArrowheads="1"/>
            </p:cNvSpPr>
            <p:nvPr/>
          </p:nvSpPr>
          <p:spPr bwMode="auto">
            <a:xfrm>
              <a:off x="969739" y="460447"/>
              <a:ext cx="75127" cy="298647"/>
            </a:xfrm>
            <a:prstGeom prst="rect">
              <a:avLst/>
            </a:prstGeom>
            <a:solidFill>
              <a:schemeClr val="bg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2" name="Freeform 42"/>
            <p:cNvSpPr>
              <a:spLocks noEditPoints="1"/>
            </p:cNvSpPr>
            <p:nvPr/>
          </p:nvSpPr>
          <p:spPr bwMode="auto">
            <a:xfrm>
              <a:off x="1074048" y="533091"/>
              <a:ext cx="216069" cy="23034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3" name="Rectangle 45"/>
            <p:cNvSpPr>
              <a:spLocks noChangeArrowheads="1"/>
            </p:cNvSpPr>
            <p:nvPr/>
          </p:nvSpPr>
          <p:spPr bwMode="auto">
            <a:xfrm>
              <a:off x="1319920" y="536816"/>
              <a:ext cx="75127" cy="222277"/>
            </a:xfrm>
            <a:prstGeom prst="rect">
              <a:avLst/>
            </a:prstGeom>
            <a:solidFill>
              <a:schemeClr val="bg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4" name="Rectangle 46"/>
            <p:cNvSpPr>
              <a:spLocks noChangeArrowheads="1"/>
            </p:cNvSpPr>
            <p:nvPr/>
          </p:nvSpPr>
          <p:spPr bwMode="auto">
            <a:xfrm>
              <a:off x="1319920" y="460447"/>
              <a:ext cx="75127" cy="49671"/>
            </a:xfrm>
            <a:prstGeom prst="rect">
              <a:avLst/>
            </a:prstGeom>
            <a:solidFill>
              <a:schemeClr val="bg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5" name="Freeform 47"/>
            <p:cNvSpPr>
              <a:spLocks/>
            </p:cNvSpPr>
            <p:nvPr/>
          </p:nvSpPr>
          <p:spPr bwMode="auto">
            <a:xfrm>
              <a:off x="1424850" y="467277"/>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6" name="Freeform 49"/>
            <p:cNvSpPr>
              <a:spLocks/>
            </p:cNvSpPr>
            <p:nvPr/>
          </p:nvSpPr>
          <p:spPr bwMode="auto">
            <a:xfrm>
              <a:off x="1598078" y="467277"/>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7" name="Freeform 51"/>
            <p:cNvSpPr>
              <a:spLocks noEditPoints="1"/>
            </p:cNvSpPr>
            <p:nvPr/>
          </p:nvSpPr>
          <p:spPr bwMode="auto">
            <a:xfrm>
              <a:off x="1773168" y="533091"/>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8" name="Freeform 54"/>
            <p:cNvSpPr>
              <a:spLocks noEditPoints="1"/>
            </p:cNvSpPr>
            <p:nvPr/>
          </p:nvSpPr>
          <p:spPr bwMode="auto">
            <a:xfrm>
              <a:off x="731318" y="533091"/>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grpSp>
      <p:sp>
        <p:nvSpPr>
          <p:cNvPr id="52" name="TextBox 21"/>
          <p:cNvSpPr txBox="1"/>
          <p:nvPr userDrawn="1"/>
        </p:nvSpPr>
        <p:spPr>
          <a:xfrm>
            <a:off x="-808919" y="4592996"/>
            <a:ext cx="747431" cy="431400"/>
          </a:xfrm>
          <a:prstGeom prst="rect">
            <a:avLst/>
          </a:prstGeom>
          <a:noFill/>
          <a:ln>
            <a:noFill/>
          </a:ln>
        </p:spPr>
        <p:txBody>
          <a:bodyPr wrap="square" lIns="0" tIns="0" rIns="0" bIns="0" rtlCol="0">
            <a:spAutoFit/>
          </a:bodyPr>
          <a:lstStyle/>
          <a:p>
            <a:pPr algn="r">
              <a:spcAft>
                <a:spcPts val="270"/>
              </a:spcAft>
            </a:pPr>
            <a:r>
              <a:rPr lang="en-US" sz="701" baseline="0" noProof="0" dirty="0" smtClean="0">
                <a:ln>
                  <a:noFill/>
                </a:ln>
                <a:solidFill>
                  <a:schemeClr val="bg1">
                    <a:lumMod val="65000"/>
                  </a:schemeClr>
                </a:solidFill>
              </a:rPr>
              <a:t>Grey markers</a:t>
            </a:r>
            <a:r>
              <a:rPr lang="en-US" sz="701" dirty="0" smtClean="0">
                <a:ln>
                  <a:noFill/>
                </a:ln>
                <a:solidFill>
                  <a:schemeClr val="bg1">
                    <a:lumMod val="65000"/>
                  </a:schemeClr>
                </a:solidFill>
              </a:rPr>
              <a:t> indicate position of Deloitte Drawing Guides</a:t>
            </a:r>
            <a:endParaRPr lang="en-US" sz="701" baseline="0" noProof="0" dirty="0" smtClean="0">
              <a:ln>
                <a:noFill/>
              </a:ln>
              <a:solidFill>
                <a:schemeClr val="bg1">
                  <a:lumMod val="65000"/>
                </a:schemeClr>
              </a:solidFill>
            </a:endParaRPr>
          </a:p>
        </p:txBody>
      </p:sp>
      <p:cxnSp>
        <p:nvCxnSpPr>
          <p:cNvPr id="53" name="Straight Arrow Connector 12"/>
          <p:cNvCxnSpPr/>
          <p:nvPr userDrawn="1"/>
        </p:nvCxnSpPr>
        <p:spPr>
          <a:xfrm>
            <a:off x="-381894" y="4462068"/>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4" name="Straight Arrow Connector 12"/>
          <p:cNvCxnSpPr/>
          <p:nvPr userDrawn="1"/>
        </p:nvCxnSpPr>
        <p:spPr>
          <a:xfrm>
            <a:off x="-392411"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5" name="Straight Arrow Connector 12"/>
          <p:cNvCxnSpPr/>
          <p:nvPr userDrawn="1"/>
        </p:nvCxnSpPr>
        <p:spPr>
          <a:xfrm>
            <a:off x="6015633"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6" name="Straight Arrow Connector 12"/>
          <p:cNvCxnSpPr/>
          <p:nvPr userDrawn="1"/>
        </p:nvCxnSpPr>
        <p:spPr>
          <a:xfrm>
            <a:off x="6015633" y="4463033"/>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7" name="Straight Arrow Connector 14"/>
          <p:cNvCxnSpPr/>
          <p:nvPr userDrawn="1"/>
        </p:nvCxnSpPr>
        <p:spPr>
          <a:xfrm>
            <a:off x="5738945"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8" name="Straight Arrow Connector 14"/>
          <p:cNvCxnSpPr/>
          <p:nvPr userDrawn="1"/>
        </p:nvCxnSpPr>
        <p:spPr>
          <a:xfrm>
            <a:off x="226418" y="-29095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9" name="Straight Arrow Connector 14"/>
          <p:cNvCxnSpPr/>
          <p:nvPr userDrawn="1"/>
        </p:nvCxnSpPr>
        <p:spPr>
          <a:xfrm>
            <a:off x="5738945" y="-320178"/>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0" name="Straight Arrow Connector 14"/>
          <p:cNvCxnSpPr/>
          <p:nvPr userDrawn="1"/>
        </p:nvCxnSpPr>
        <p:spPr>
          <a:xfrm>
            <a:off x="226418"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grpSp>
        <p:nvGrpSpPr>
          <p:cNvPr id="36" name="群組 35"/>
          <p:cNvGrpSpPr/>
          <p:nvPr userDrawn="1"/>
        </p:nvGrpSpPr>
        <p:grpSpPr>
          <a:xfrm>
            <a:off x="5113667" y="311082"/>
            <a:ext cx="625279" cy="205735"/>
            <a:chOff x="463716" y="867128"/>
            <a:chExt cx="1277166" cy="298647"/>
          </a:xfrm>
        </p:grpSpPr>
        <p:sp>
          <p:nvSpPr>
            <p:cNvPr id="37" name="Freeform 6"/>
            <p:cNvSpPr>
              <a:spLocks noEditPoints="1"/>
            </p:cNvSpPr>
            <p:nvPr/>
          </p:nvSpPr>
          <p:spPr bwMode="auto">
            <a:xfrm>
              <a:off x="463716" y="867128"/>
              <a:ext cx="287471" cy="296163"/>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dirty="0"/>
            </a:p>
          </p:txBody>
        </p:sp>
        <p:sp>
          <p:nvSpPr>
            <p:cNvPr id="49" name="Freeform 11"/>
            <p:cNvSpPr>
              <a:spLocks noEditPoints="1"/>
            </p:cNvSpPr>
            <p:nvPr/>
          </p:nvSpPr>
          <p:spPr bwMode="auto">
            <a:xfrm>
              <a:off x="790303" y="867128"/>
              <a:ext cx="297405" cy="298026"/>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50" name="Freeform 15"/>
            <p:cNvSpPr>
              <a:spLocks/>
            </p:cNvSpPr>
            <p:nvPr/>
          </p:nvSpPr>
          <p:spPr bwMode="auto">
            <a:xfrm>
              <a:off x="1119373" y="978267"/>
              <a:ext cx="283125" cy="187508"/>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51" name="Freeform 16"/>
            <p:cNvSpPr>
              <a:spLocks/>
            </p:cNvSpPr>
            <p:nvPr/>
          </p:nvSpPr>
          <p:spPr bwMode="auto">
            <a:xfrm>
              <a:off x="1286392" y="1022971"/>
              <a:ext cx="127903" cy="132249"/>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61" name="Freeform 18"/>
            <p:cNvSpPr>
              <a:spLocks noEditPoints="1"/>
            </p:cNvSpPr>
            <p:nvPr/>
          </p:nvSpPr>
          <p:spPr bwMode="auto">
            <a:xfrm>
              <a:off x="1134274" y="878925"/>
              <a:ext cx="263257" cy="93754"/>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62" name="Freeform 23"/>
            <p:cNvSpPr>
              <a:spLocks/>
            </p:cNvSpPr>
            <p:nvPr/>
          </p:nvSpPr>
          <p:spPr bwMode="auto">
            <a:xfrm>
              <a:off x="1547165" y="883271"/>
              <a:ext cx="177574" cy="26077"/>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63" name="Freeform 25"/>
            <p:cNvSpPr>
              <a:spLocks/>
            </p:cNvSpPr>
            <p:nvPr/>
          </p:nvSpPr>
          <p:spPr bwMode="auto">
            <a:xfrm>
              <a:off x="1534747" y="932321"/>
              <a:ext cx="206135" cy="29182"/>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64" name="Freeform 27"/>
            <p:cNvSpPr>
              <a:spLocks/>
            </p:cNvSpPr>
            <p:nvPr/>
          </p:nvSpPr>
          <p:spPr bwMode="auto">
            <a:xfrm>
              <a:off x="1444098" y="870232"/>
              <a:ext cx="91270" cy="294300"/>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65" name="Freeform 30"/>
            <p:cNvSpPr>
              <a:spLocks/>
            </p:cNvSpPr>
            <p:nvPr/>
          </p:nvSpPr>
          <p:spPr bwMode="auto">
            <a:xfrm>
              <a:off x="1544681" y="980751"/>
              <a:ext cx="182541" cy="26077"/>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66" name="Freeform 31"/>
            <p:cNvSpPr>
              <a:spLocks/>
            </p:cNvSpPr>
            <p:nvPr/>
          </p:nvSpPr>
          <p:spPr bwMode="auto">
            <a:xfrm>
              <a:off x="1544681" y="1025454"/>
              <a:ext cx="182541" cy="26698"/>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67" name="Freeform 33"/>
            <p:cNvSpPr>
              <a:spLocks noEditPoints="1"/>
            </p:cNvSpPr>
            <p:nvPr/>
          </p:nvSpPr>
          <p:spPr bwMode="auto">
            <a:xfrm>
              <a:off x="1547165" y="1072021"/>
              <a:ext cx="177574" cy="88787"/>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227431381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816"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首頁_白底文字">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062125" y="1054000"/>
            <a:ext cx="1850625" cy="2604000"/>
          </a:xfrm>
          <a:prstGeom prst="ellipse">
            <a:avLst/>
          </a:prstGeom>
          <a:ln w="25400">
            <a:solidFill>
              <a:schemeClr val="accent1"/>
            </a:solidFill>
          </a:ln>
        </p:spPr>
        <p:txBody>
          <a:bodyPr lIns="108000" tIns="108000" rIns="108000" bIns="108000" anchor="ctr" anchorCtr="0">
            <a:normAutofit/>
          </a:bodyPr>
          <a:lstStyle>
            <a:lvl1pPr algn="ctr">
              <a:lnSpc>
                <a:spcPts val="3799"/>
              </a:lnSpc>
              <a:defRPr sz="3201" b="0">
                <a:solidFill>
                  <a:schemeClr val="tx1"/>
                </a:solidFill>
                <a:latin typeface="+mj-lt"/>
                <a:ea typeface="+mj-ea"/>
                <a:cs typeface="Open Sans" panose="020B0606030504020204" pitchFamily="34" charset="0"/>
              </a:defRPr>
            </a:lvl1pPr>
          </a:lstStyle>
          <a:p>
            <a:r>
              <a:rPr lang="zh-TW" altLang="en-US" noProof="0" smtClean="0"/>
              <a:t>按一下以編輯母片標題樣式</a:t>
            </a:r>
            <a:endParaRPr lang="en-US" noProof="0" dirty="0"/>
          </a:p>
        </p:txBody>
      </p:sp>
      <p:sp>
        <p:nvSpPr>
          <p:cNvPr id="3" name="Subtitle 2"/>
          <p:cNvSpPr>
            <a:spLocks noGrp="1"/>
          </p:cNvSpPr>
          <p:nvPr>
            <p:ph type="subTitle" idx="1"/>
          </p:nvPr>
        </p:nvSpPr>
        <p:spPr bwMode="gray">
          <a:xfrm>
            <a:off x="232712" y="4026685"/>
            <a:ext cx="2738900" cy="348333"/>
          </a:xfrm>
          <a:prstGeom prst="rect">
            <a:avLst/>
          </a:prstGeom>
        </p:spPr>
        <p:txBody>
          <a:bodyPr lIns="0" tIns="0" rIns="0" bIns="0" anchor="b" anchorCtr="0">
            <a:noAutofit/>
          </a:bodyPr>
          <a:lstStyle>
            <a:lvl1pPr marL="0" indent="0" algn="l">
              <a:lnSpc>
                <a:spcPct val="100000"/>
              </a:lnSpc>
              <a:spcAft>
                <a:spcPts val="0"/>
              </a:spcAft>
              <a:buNone/>
              <a:defRPr sz="1599">
                <a:solidFill>
                  <a:schemeClr val="tx1"/>
                </a:solidFill>
                <a:latin typeface="+mj-lt"/>
              </a:defRPr>
            </a:lvl1pPr>
            <a:lvl2pPr marL="609589" indent="0" algn="ctr">
              <a:buNone/>
              <a:defRPr sz="2668"/>
            </a:lvl2pPr>
            <a:lvl3pPr marL="1219179" indent="0" algn="ctr">
              <a:buNone/>
              <a:defRPr sz="2400"/>
            </a:lvl3pPr>
            <a:lvl4pPr marL="1828768" indent="0" algn="ctr">
              <a:buNone/>
              <a:defRPr sz="2132"/>
            </a:lvl4pPr>
            <a:lvl5pPr marL="2438358" indent="0" algn="ctr">
              <a:buNone/>
              <a:defRPr sz="2132"/>
            </a:lvl5pPr>
            <a:lvl6pPr marL="3047945" indent="0" algn="ctr">
              <a:buNone/>
              <a:defRPr sz="2132"/>
            </a:lvl6pPr>
            <a:lvl7pPr marL="3657535" indent="0" algn="ctr">
              <a:buNone/>
              <a:defRPr sz="2132"/>
            </a:lvl7pPr>
            <a:lvl8pPr marL="4267122" indent="0" algn="ctr">
              <a:buNone/>
              <a:defRPr sz="2132"/>
            </a:lvl8pPr>
            <a:lvl9pPr marL="4876714" indent="0" algn="ctr">
              <a:buNone/>
              <a:defRPr sz="2132"/>
            </a:lvl9pPr>
          </a:lstStyle>
          <a:p>
            <a:r>
              <a:rPr lang="zh-TW" altLang="en-US" noProof="0" smtClean="0"/>
              <a:t>按一下以編輯母片副標題樣式</a:t>
            </a:r>
            <a:endParaRPr lang="en-US" noProof="0" dirty="0"/>
          </a:p>
        </p:txBody>
      </p:sp>
      <p:sp>
        <p:nvSpPr>
          <p:cNvPr id="5" name="Text Placeholder 4"/>
          <p:cNvSpPr>
            <a:spLocks noGrp="1"/>
          </p:cNvSpPr>
          <p:nvPr>
            <p:ph type="body" sz="quarter" idx="10"/>
          </p:nvPr>
        </p:nvSpPr>
        <p:spPr>
          <a:xfrm>
            <a:off x="232711" y="4383197"/>
            <a:ext cx="2738900" cy="205600"/>
          </a:xfrm>
          <a:prstGeom prst="rect">
            <a:avLst/>
          </a:prstGeom>
        </p:spPr>
        <p:txBody>
          <a:bodyPr>
            <a:noAutofit/>
          </a:bodyPr>
          <a:lstStyle>
            <a:lvl1pPr>
              <a:spcAft>
                <a:spcPts val="0"/>
              </a:spcAft>
              <a:defRPr sz="1052">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TW" altLang="en-US" noProof="0" smtClean="0"/>
              <a:t>編輯母片文字樣式</a:t>
            </a:r>
          </a:p>
        </p:txBody>
      </p:sp>
      <p:grpSp>
        <p:nvGrpSpPr>
          <p:cNvPr id="4" name="群組 3"/>
          <p:cNvGrpSpPr/>
          <p:nvPr userDrawn="1"/>
        </p:nvGrpSpPr>
        <p:grpSpPr>
          <a:xfrm>
            <a:off x="232713" y="313031"/>
            <a:ext cx="795506" cy="209156"/>
            <a:chOff x="475329" y="454400"/>
            <a:chExt cx="1624863" cy="303614"/>
          </a:xfrm>
        </p:grpSpPr>
        <p:sp>
          <p:nvSpPr>
            <p:cNvPr id="39" name="Freeform 36"/>
            <p:cNvSpPr>
              <a:spLocks/>
            </p:cNvSpPr>
            <p:nvPr/>
          </p:nvSpPr>
          <p:spPr bwMode="auto">
            <a:xfrm>
              <a:off x="2015130" y="671090"/>
              <a:ext cx="85062" cy="86924"/>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0" name="Freeform 38"/>
            <p:cNvSpPr>
              <a:spLocks noEditPoints="1"/>
            </p:cNvSpPr>
            <p:nvPr/>
          </p:nvSpPr>
          <p:spPr bwMode="auto">
            <a:xfrm>
              <a:off x="475329" y="455642"/>
              <a:ext cx="246492" cy="297405"/>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1" name="Rectangle 41"/>
            <p:cNvSpPr>
              <a:spLocks noChangeArrowheads="1"/>
            </p:cNvSpPr>
            <p:nvPr/>
          </p:nvSpPr>
          <p:spPr bwMode="auto">
            <a:xfrm>
              <a:off x="982594" y="454400"/>
              <a:ext cx="75127" cy="298647"/>
            </a:xfrm>
            <a:prstGeom prst="rect">
              <a:avLst/>
            </a:prstGeom>
            <a:solidFill>
              <a:schemeClr val="tx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2" name="Freeform 42"/>
            <p:cNvSpPr>
              <a:spLocks noEditPoints="1"/>
            </p:cNvSpPr>
            <p:nvPr/>
          </p:nvSpPr>
          <p:spPr bwMode="auto">
            <a:xfrm>
              <a:off x="1086903" y="527044"/>
              <a:ext cx="216069" cy="23034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3" name="Rectangle 45"/>
            <p:cNvSpPr>
              <a:spLocks noChangeArrowheads="1"/>
            </p:cNvSpPr>
            <p:nvPr/>
          </p:nvSpPr>
          <p:spPr bwMode="auto">
            <a:xfrm>
              <a:off x="1332775" y="530769"/>
              <a:ext cx="75127" cy="222277"/>
            </a:xfrm>
            <a:prstGeom prst="rect">
              <a:avLst/>
            </a:prstGeom>
            <a:solidFill>
              <a:schemeClr val="tx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4" name="Rectangle 46"/>
            <p:cNvSpPr>
              <a:spLocks noChangeArrowheads="1"/>
            </p:cNvSpPr>
            <p:nvPr/>
          </p:nvSpPr>
          <p:spPr bwMode="auto">
            <a:xfrm>
              <a:off x="1332775" y="454400"/>
              <a:ext cx="75127" cy="49671"/>
            </a:xfrm>
            <a:prstGeom prst="rect">
              <a:avLst/>
            </a:prstGeom>
            <a:solidFill>
              <a:schemeClr val="tx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5" name="Freeform 47"/>
            <p:cNvSpPr>
              <a:spLocks/>
            </p:cNvSpPr>
            <p:nvPr/>
          </p:nvSpPr>
          <p:spPr bwMode="auto">
            <a:xfrm>
              <a:off x="1437705" y="461230"/>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6" name="Freeform 49"/>
            <p:cNvSpPr>
              <a:spLocks/>
            </p:cNvSpPr>
            <p:nvPr/>
          </p:nvSpPr>
          <p:spPr bwMode="auto">
            <a:xfrm>
              <a:off x="1610933" y="461230"/>
              <a:ext cx="157705" cy="296163"/>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7" name="Freeform 51"/>
            <p:cNvSpPr>
              <a:spLocks noEditPoints="1"/>
            </p:cNvSpPr>
            <p:nvPr/>
          </p:nvSpPr>
          <p:spPr bwMode="auto">
            <a:xfrm>
              <a:off x="1786023" y="527044"/>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8" name="Freeform 54"/>
            <p:cNvSpPr>
              <a:spLocks noEditPoints="1"/>
            </p:cNvSpPr>
            <p:nvPr/>
          </p:nvSpPr>
          <p:spPr bwMode="auto">
            <a:xfrm>
              <a:off x="744173" y="527044"/>
              <a:ext cx="209239" cy="23034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grpSp>
      <p:sp>
        <p:nvSpPr>
          <p:cNvPr id="49" name="TextBox 21"/>
          <p:cNvSpPr txBox="1"/>
          <p:nvPr userDrawn="1"/>
        </p:nvSpPr>
        <p:spPr>
          <a:xfrm>
            <a:off x="-808919" y="4592996"/>
            <a:ext cx="747431" cy="431400"/>
          </a:xfrm>
          <a:prstGeom prst="rect">
            <a:avLst/>
          </a:prstGeom>
          <a:noFill/>
          <a:ln>
            <a:noFill/>
          </a:ln>
        </p:spPr>
        <p:txBody>
          <a:bodyPr wrap="square" lIns="0" tIns="0" rIns="0" bIns="0" rtlCol="0">
            <a:spAutoFit/>
          </a:bodyPr>
          <a:lstStyle/>
          <a:p>
            <a:pPr algn="r">
              <a:spcAft>
                <a:spcPts val="270"/>
              </a:spcAft>
            </a:pPr>
            <a:r>
              <a:rPr lang="en-US" sz="701" baseline="0" noProof="0" dirty="0" smtClean="0">
                <a:ln>
                  <a:noFill/>
                </a:ln>
                <a:solidFill>
                  <a:schemeClr val="bg1">
                    <a:lumMod val="65000"/>
                  </a:schemeClr>
                </a:solidFill>
              </a:rPr>
              <a:t>Grey markers</a:t>
            </a:r>
            <a:r>
              <a:rPr lang="en-US" sz="701" dirty="0" smtClean="0">
                <a:ln>
                  <a:noFill/>
                </a:ln>
                <a:solidFill>
                  <a:schemeClr val="bg1">
                    <a:lumMod val="65000"/>
                  </a:schemeClr>
                </a:solidFill>
              </a:rPr>
              <a:t> indicate position of Deloitte Drawing Guides</a:t>
            </a:r>
            <a:endParaRPr lang="en-US" sz="701" baseline="0" noProof="0" dirty="0" smtClean="0">
              <a:ln>
                <a:noFill/>
              </a:ln>
              <a:solidFill>
                <a:schemeClr val="bg1">
                  <a:lumMod val="65000"/>
                </a:schemeClr>
              </a:solidFill>
            </a:endParaRPr>
          </a:p>
        </p:txBody>
      </p:sp>
      <p:cxnSp>
        <p:nvCxnSpPr>
          <p:cNvPr id="50" name="Straight Arrow Connector 12"/>
          <p:cNvCxnSpPr/>
          <p:nvPr userDrawn="1"/>
        </p:nvCxnSpPr>
        <p:spPr>
          <a:xfrm>
            <a:off x="-381894" y="4462068"/>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1" name="Straight Arrow Connector 12"/>
          <p:cNvCxnSpPr/>
          <p:nvPr userDrawn="1"/>
        </p:nvCxnSpPr>
        <p:spPr>
          <a:xfrm>
            <a:off x="-392411"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2" name="Straight Arrow Connector 12"/>
          <p:cNvCxnSpPr/>
          <p:nvPr userDrawn="1"/>
        </p:nvCxnSpPr>
        <p:spPr>
          <a:xfrm>
            <a:off x="6015633"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3" name="Straight Arrow Connector 12"/>
          <p:cNvCxnSpPr/>
          <p:nvPr userDrawn="1"/>
        </p:nvCxnSpPr>
        <p:spPr>
          <a:xfrm>
            <a:off x="6015633" y="4463033"/>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4" name="Straight Arrow Connector 14"/>
          <p:cNvCxnSpPr/>
          <p:nvPr userDrawn="1"/>
        </p:nvCxnSpPr>
        <p:spPr>
          <a:xfrm>
            <a:off x="5738945"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5" name="Straight Arrow Connector 14"/>
          <p:cNvCxnSpPr/>
          <p:nvPr userDrawn="1"/>
        </p:nvCxnSpPr>
        <p:spPr>
          <a:xfrm>
            <a:off x="226418" y="-29095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6" name="Straight Arrow Connector 14"/>
          <p:cNvCxnSpPr/>
          <p:nvPr userDrawn="1"/>
        </p:nvCxnSpPr>
        <p:spPr>
          <a:xfrm>
            <a:off x="5738945" y="-320178"/>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7" name="Straight Arrow Connector 14"/>
          <p:cNvCxnSpPr/>
          <p:nvPr userDrawn="1"/>
        </p:nvCxnSpPr>
        <p:spPr>
          <a:xfrm>
            <a:off x="226418"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grpSp>
        <p:nvGrpSpPr>
          <p:cNvPr id="36" name="群組 35"/>
          <p:cNvGrpSpPr/>
          <p:nvPr userDrawn="1"/>
        </p:nvGrpSpPr>
        <p:grpSpPr>
          <a:xfrm>
            <a:off x="5113667" y="311082"/>
            <a:ext cx="625279" cy="205735"/>
            <a:chOff x="463716" y="867128"/>
            <a:chExt cx="1277166" cy="298647"/>
          </a:xfrm>
          <a:solidFill>
            <a:schemeClr val="tx1"/>
          </a:solidFill>
        </p:grpSpPr>
        <p:sp>
          <p:nvSpPr>
            <p:cNvPr id="37" name="Freeform 6"/>
            <p:cNvSpPr>
              <a:spLocks noEditPoints="1"/>
            </p:cNvSpPr>
            <p:nvPr/>
          </p:nvSpPr>
          <p:spPr bwMode="auto">
            <a:xfrm>
              <a:off x="463716" y="867128"/>
              <a:ext cx="287471" cy="296163"/>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dirty="0"/>
            </a:p>
          </p:txBody>
        </p:sp>
        <p:sp>
          <p:nvSpPr>
            <p:cNvPr id="58" name="Freeform 11"/>
            <p:cNvSpPr>
              <a:spLocks noEditPoints="1"/>
            </p:cNvSpPr>
            <p:nvPr/>
          </p:nvSpPr>
          <p:spPr bwMode="auto">
            <a:xfrm>
              <a:off x="790303" y="867128"/>
              <a:ext cx="297405" cy="298026"/>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59" name="Freeform 15"/>
            <p:cNvSpPr>
              <a:spLocks/>
            </p:cNvSpPr>
            <p:nvPr/>
          </p:nvSpPr>
          <p:spPr bwMode="auto">
            <a:xfrm>
              <a:off x="1119373" y="978267"/>
              <a:ext cx="283125" cy="187508"/>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60" name="Freeform 16"/>
            <p:cNvSpPr>
              <a:spLocks/>
            </p:cNvSpPr>
            <p:nvPr/>
          </p:nvSpPr>
          <p:spPr bwMode="auto">
            <a:xfrm>
              <a:off x="1286392" y="1022971"/>
              <a:ext cx="127903" cy="132249"/>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61" name="Freeform 18"/>
            <p:cNvSpPr>
              <a:spLocks noEditPoints="1"/>
            </p:cNvSpPr>
            <p:nvPr/>
          </p:nvSpPr>
          <p:spPr bwMode="auto">
            <a:xfrm>
              <a:off x="1134274" y="878925"/>
              <a:ext cx="263257" cy="93754"/>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62" name="Freeform 23"/>
            <p:cNvSpPr>
              <a:spLocks/>
            </p:cNvSpPr>
            <p:nvPr/>
          </p:nvSpPr>
          <p:spPr bwMode="auto">
            <a:xfrm>
              <a:off x="1547165" y="883271"/>
              <a:ext cx="177574" cy="26077"/>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63" name="Freeform 25"/>
            <p:cNvSpPr>
              <a:spLocks/>
            </p:cNvSpPr>
            <p:nvPr/>
          </p:nvSpPr>
          <p:spPr bwMode="auto">
            <a:xfrm>
              <a:off x="1534747" y="932321"/>
              <a:ext cx="206135" cy="29182"/>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64" name="Freeform 27"/>
            <p:cNvSpPr>
              <a:spLocks/>
            </p:cNvSpPr>
            <p:nvPr/>
          </p:nvSpPr>
          <p:spPr bwMode="auto">
            <a:xfrm>
              <a:off x="1444098" y="870232"/>
              <a:ext cx="91270" cy="294300"/>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65" name="Freeform 30"/>
            <p:cNvSpPr>
              <a:spLocks/>
            </p:cNvSpPr>
            <p:nvPr/>
          </p:nvSpPr>
          <p:spPr bwMode="auto">
            <a:xfrm>
              <a:off x="1544681" y="980751"/>
              <a:ext cx="182541" cy="26077"/>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66" name="Freeform 31"/>
            <p:cNvSpPr>
              <a:spLocks/>
            </p:cNvSpPr>
            <p:nvPr/>
          </p:nvSpPr>
          <p:spPr bwMode="auto">
            <a:xfrm>
              <a:off x="1544681" y="1025454"/>
              <a:ext cx="182541" cy="26698"/>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67" name="Freeform 33"/>
            <p:cNvSpPr>
              <a:spLocks noEditPoints="1"/>
            </p:cNvSpPr>
            <p:nvPr/>
          </p:nvSpPr>
          <p:spPr bwMode="auto">
            <a:xfrm>
              <a:off x="1547165" y="1072021"/>
              <a:ext cx="177574" cy="88787"/>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327230259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81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首頁_黑底圖片_CO-BRAND">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232651" y="3009619"/>
            <a:ext cx="2737755" cy="1365399"/>
          </a:xfrm>
          <a:prstGeom prst="rect">
            <a:avLst/>
          </a:prstGeom>
        </p:spPr>
        <p:txBody>
          <a:bodyPr lIns="0" tIns="0" rIns="0" bIns="0" anchor="b" anchorCtr="0">
            <a:noAutofit/>
          </a:bodyPr>
          <a:lstStyle>
            <a:lvl1pPr marL="0" indent="0" algn="l">
              <a:lnSpc>
                <a:spcPct val="100000"/>
              </a:lnSpc>
              <a:spcAft>
                <a:spcPts val="0"/>
              </a:spcAft>
              <a:buNone/>
              <a:defRPr sz="1800" b="0">
                <a:solidFill>
                  <a:srgbClr val="86BC25"/>
                </a:solidFill>
                <a:latin typeface="Calibri" panose="020F0502020204030204" pitchFamily="34" charset="0"/>
                <a:ea typeface="+mj-ea"/>
                <a:cs typeface="Calibri" panose="020F0502020204030204" pitchFamily="34" charset="0"/>
              </a:defRPr>
            </a:lvl1pPr>
            <a:lvl2pPr marL="0" indent="0" algn="l">
              <a:buNone/>
              <a:defRPr sz="1800" b="0">
                <a:solidFill>
                  <a:schemeClr val="bg1"/>
                </a:solidFill>
                <a:latin typeface="Calibri" panose="020F0502020204030204" pitchFamily="34" charset="0"/>
                <a:ea typeface="+mj-ea"/>
                <a:cs typeface="Calibri" panose="020F0502020204030204" pitchFamily="34" charset="0"/>
              </a:defRPr>
            </a:lvl2pPr>
            <a:lvl3pPr marL="1219179" indent="0" algn="ctr">
              <a:buNone/>
              <a:defRPr sz="2400"/>
            </a:lvl3pPr>
            <a:lvl4pPr marL="1828768" indent="0" algn="ctr">
              <a:buNone/>
              <a:defRPr sz="2132"/>
            </a:lvl4pPr>
            <a:lvl5pPr marL="2438358" indent="0" algn="ctr">
              <a:buNone/>
              <a:defRPr sz="2132"/>
            </a:lvl5pPr>
            <a:lvl6pPr marL="3047945" indent="0" algn="ctr">
              <a:buNone/>
              <a:defRPr sz="2132"/>
            </a:lvl6pPr>
            <a:lvl7pPr marL="3657535" indent="0" algn="ctr">
              <a:buNone/>
              <a:defRPr sz="2132"/>
            </a:lvl7pPr>
            <a:lvl8pPr marL="4267122" indent="0" algn="ctr">
              <a:buNone/>
              <a:defRPr sz="2132"/>
            </a:lvl8pPr>
            <a:lvl9pPr marL="4876714" indent="0" algn="ctr">
              <a:buNone/>
              <a:defRPr sz="2132"/>
            </a:lvl9pPr>
          </a:lstStyle>
          <a:p>
            <a:r>
              <a:rPr lang="en-US" noProof="0" dirty="0" smtClean="0"/>
              <a:t>Click to edit Master title style</a:t>
            </a:r>
          </a:p>
          <a:p>
            <a:pPr lvl="1"/>
            <a:r>
              <a:rPr lang="en-US" noProof="0" dirty="0" smtClean="0"/>
              <a:t>Click to edit Master subtitle style</a:t>
            </a:r>
            <a:endParaRPr lang="en-US" noProof="0" dirty="0"/>
          </a:p>
        </p:txBody>
      </p:sp>
      <p:sp>
        <p:nvSpPr>
          <p:cNvPr id="5" name="Text Placeholder 4"/>
          <p:cNvSpPr>
            <a:spLocks noGrp="1"/>
          </p:cNvSpPr>
          <p:nvPr>
            <p:ph type="body" sz="quarter" idx="10"/>
          </p:nvPr>
        </p:nvSpPr>
        <p:spPr>
          <a:xfrm>
            <a:off x="232650" y="4383197"/>
            <a:ext cx="2738900" cy="205600"/>
          </a:xfrm>
          <a:prstGeom prst="rect">
            <a:avLst/>
          </a:prstGeom>
        </p:spPr>
        <p:txBody>
          <a:bodyPr/>
          <a:lstStyle>
            <a:lvl1pPr>
              <a:spcAft>
                <a:spcPts val="0"/>
              </a:spcAft>
              <a:defRPr sz="1052">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TW" altLang="en-US" noProof="0" smtClean="0"/>
              <a:t>編輯母片文字樣式</a:t>
            </a:r>
          </a:p>
        </p:txBody>
      </p:sp>
      <p:sp>
        <p:nvSpPr>
          <p:cNvPr id="33" name="Picture Placeholder 8"/>
          <p:cNvSpPr>
            <a:spLocks noGrp="1"/>
          </p:cNvSpPr>
          <p:nvPr>
            <p:ph type="pic" sz="quarter" idx="11"/>
          </p:nvPr>
        </p:nvSpPr>
        <p:spPr>
          <a:xfrm>
            <a:off x="1661507" y="501232"/>
            <a:ext cx="2643750" cy="3720000"/>
          </a:xfrm>
          <a:prstGeom prst="rect">
            <a:avLst/>
          </a:prstGeom>
        </p:spPr>
        <p:txBody>
          <a:bodyPr/>
          <a:lstStyle/>
          <a:p>
            <a:r>
              <a:rPr lang="zh-TW" altLang="en-US" noProof="0" smtClean="0"/>
              <a:t>按一下圖示以新增圖片</a:t>
            </a:r>
            <a:endParaRPr lang="en-US" noProof="0" dirty="0"/>
          </a:p>
        </p:txBody>
      </p:sp>
      <p:grpSp>
        <p:nvGrpSpPr>
          <p:cNvPr id="16" name="群組 15"/>
          <p:cNvGrpSpPr/>
          <p:nvPr userDrawn="1"/>
        </p:nvGrpSpPr>
        <p:grpSpPr>
          <a:xfrm>
            <a:off x="226420" y="317198"/>
            <a:ext cx="795506" cy="485893"/>
            <a:chOff x="4927725" y="1160266"/>
            <a:chExt cx="3981923" cy="1728492"/>
          </a:xfrm>
        </p:grpSpPr>
        <p:sp>
          <p:nvSpPr>
            <p:cNvPr id="17" name="Freeform 6"/>
            <p:cNvSpPr>
              <a:spLocks noEditPoints="1"/>
            </p:cNvSpPr>
            <p:nvPr/>
          </p:nvSpPr>
          <p:spPr bwMode="auto">
            <a:xfrm>
              <a:off x="4930768" y="2156888"/>
              <a:ext cx="704482" cy="725784"/>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dirty="0"/>
            </a:p>
          </p:txBody>
        </p:sp>
        <p:sp>
          <p:nvSpPr>
            <p:cNvPr id="18" name="Freeform 11"/>
            <p:cNvSpPr>
              <a:spLocks noEditPoints="1"/>
            </p:cNvSpPr>
            <p:nvPr/>
          </p:nvSpPr>
          <p:spPr bwMode="auto">
            <a:xfrm>
              <a:off x="5731109" y="2156888"/>
              <a:ext cx="728827" cy="730349"/>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19" name="Freeform 15"/>
            <p:cNvSpPr>
              <a:spLocks/>
            </p:cNvSpPr>
            <p:nvPr/>
          </p:nvSpPr>
          <p:spPr bwMode="auto">
            <a:xfrm>
              <a:off x="6537536" y="2429247"/>
              <a:ext cx="693831" cy="459511"/>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0" name="Freeform 16"/>
            <p:cNvSpPr>
              <a:spLocks/>
            </p:cNvSpPr>
            <p:nvPr/>
          </p:nvSpPr>
          <p:spPr bwMode="auto">
            <a:xfrm>
              <a:off x="6946835" y="2538799"/>
              <a:ext cx="313441" cy="324092"/>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21" name="Freeform 18"/>
            <p:cNvSpPr>
              <a:spLocks noEditPoints="1"/>
            </p:cNvSpPr>
            <p:nvPr/>
          </p:nvSpPr>
          <p:spPr bwMode="auto">
            <a:xfrm>
              <a:off x="6574053" y="2185797"/>
              <a:ext cx="645142" cy="229756"/>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34" name="Freeform 23"/>
            <p:cNvSpPr>
              <a:spLocks/>
            </p:cNvSpPr>
            <p:nvPr/>
          </p:nvSpPr>
          <p:spPr bwMode="auto">
            <a:xfrm>
              <a:off x="7585891" y="2196448"/>
              <a:ext cx="435166" cy="63906"/>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35" name="Freeform 25"/>
            <p:cNvSpPr>
              <a:spLocks/>
            </p:cNvSpPr>
            <p:nvPr/>
          </p:nvSpPr>
          <p:spPr bwMode="auto">
            <a:xfrm>
              <a:off x="7555459" y="2316651"/>
              <a:ext cx="505158" cy="71513"/>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36" name="Freeform 27"/>
            <p:cNvSpPr>
              <a:spLocks/>
            </p:cNvSpPr>
            <p:nvPr/>
          </p:nvSpPr>
          <p:spPr bwMode="auto">
            <a:xfrm>
              <a:off x="7333312" y="2164495"/>
              <a:ext cx="223669" cy="721219"/>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37" name="Freeform 30"/>
            <p:cNvSpPr>
              <a:spLocks/>
            </p:cNvSpPr>
            <p:nvPr/>
          </p:nvSpPr>
          <p:spPr bwMode="auto">
            <a:xfrm>
              <a:off x="7579804" y="2435333"/>
              <a:ext cx="447339" cy="63906"/>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38" name="Freeform 31"/>
            <p:cNvSpPr>
              <a:spLocks/>
            </p:cNvSpPr>
            <p:nvPr/>
          </p:nvSpPr>
          <p:spPr bwMode="auto">
            <a:xfrm>
              <a:off x="7579804" y="2544885"/>
              <a:ext cx="447339" cy="65427"/>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39" name="Freeform 33"/>
            <p:cNvSpPr>
              <a:spLocks noEditPoints="1"/>
            </p:cNvSpPr>
            <p:nvPr/>
          </p:nvSpPr>
          <p:spPr bwMode="auto">
            <a:xfrm>
              <a:off x="7585891" y="2659002"/>
              <a:ext cx="435166" cy="217583"/>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0" name="Freeform 36"/>
            <p:cNvSpPr>
              <a:spLocks/>
            </p:cNvSpPr>
            <p:nvPr/>
          </p:nvSpPr>
          <p:spPr bwMode="auto">
            <a:xfrm>
              <a:off x="8701194" y="1691290"/>
              <a:ext cx="208454" cy="213018"/>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1" name="Freeform 38"/>
            <p:cNvSpPr>
              <a:spLocks noEditPoints="1"/>
            </p:cNvSpPr>
            <p:nvPr/>
          </p:nvSpPr>
          <p:spPr bwMode="auto">
            <a:xfrm>
              <a:off x="4927725" y="1163309"/>
              <a:ext cx="604059" cy="728827"/>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2" name="Rectangle 41"/>
            <p:cNvSpPr>
              <a:spLocks noChangeArrowheads="1"/>
            </p:cNvSpPr>
            <p:nvPr/>
          </p:nvSpPr>
          <p:spPr bwMode="auto">
            <a:xfrm>
              <a:off x="6170840" y="1160266"/>
              <a:ext cx="184109" cy="731870"/>
            </a:xfrm>
            <a:prstGeom prst="rect">
              <a:avLst/>
            </a:prstGeom>
            <a:solidFill>
              <a:schemeClr val="bg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3" name="Freeform 42"/>
            <p:cNvSpPr>
              <a:spLocks noEditPoints="1"/>
            </p:cNvSpPr>
            <p:nvPr/>
          </p:nvSpPr>
          <p:spPr bwMode="auto">
            <a:xfrm>
              <a:off x="6426462" y="1338288"/>
              <a:ext cx="529503" cy="56449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4" name="Rectangle 45"/>
            <p:cNvSpPr>
              <a:spLocks noChangeArrowheads="1"/>
            </p:cNvSpPr>
            <p:nvPr/>
          </p:nvSpPr>
          <p:spPr bwMode="auto">
            <a:xfrm>
              <a:off x="7029000" y="1347418"/>
              <a:ext cx="184109" cy="544718"/>
            </a:xfrm>
            <a:prstGeom prst="rect">
              <a:avLst/>
            </a:prstGeom>
            <a:solidFill>
              <a:schemeClr val="bg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5" name="Rectangle 46"/>
            <p:cNvSpPr>
              <a:spLocks noChangeArrowheads="1"/>
            </p:cNvSpPr>
            <p:nvPr/>
          </p:nvSpPr>
          <p:spPr bwMode="auto">
            <a:xfrm>
              <a:off x="7029000" y="1160266"/>
              <a:ext cx="184109" cy="121725"/>
            </a:xfrm>
            <a:prstGeom prst="rect">
              <a:avLst/>
            </a:prstGeom>
            <a:solidFill>
              <a:schemeClr val="bg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6" name="Freeform 47"/>
            <p:cNvSpPr>
              <a:spLocks/>
            </p:cNvSpPr>
            <p:nvPr/>
          </p:nvSpPr>
          <p:spPr bwMode="auto">
            <a:xfrm>
              <a:off x="7286143" y="1177003"/>
              <a:ext cx="386476" cy="725784"/>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7" name="Freeform 49"/>
            <p:cNvSpPr>
              <a:spLocks/>
            </p:cNvSpPr>
            <p:nvPr/>
          </p:nvSpPr>
          <p:spPr bwMode="auto">
            <a:xfrm>
              <a:off x="7710659" y="1177003"/>
              <a:ext cx="386476" cy="725784"/>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8" name="Freeform 51"/>
            <p:cNvSpPr>
              <a:spLocks noEditPoints="1"/>
            </p:cNvSpPr>
            <p:nvPr/>
          </p:nvSpPr>
          <p:spPr bwMode="auto">
            <a:xfrm>
              <a:off x="8139739" y="1338288"/>
              <a:ext cx="512766" cy="56449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9" name="Freeform 54"/>
            <p:cNvSpPr>
              <a:spLocks noEditPoints="1"/>
            </p:cNvSpPr>
            <p:nvPr/>
          </p:nvSpPr>
          <p:spPr bwMode="auto">
            <a:xfrm>
              <a:off x="5586560" y="1338288"/>
              <a:ext cx="512766" cy="56449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grpSp>
      <p:cxnSp>
        <p:nvCxnSpPr>
          <p:cNvPr id="32" name="直線接點 31"/>
          <p:cNvCxnSpPr/>
          <p:nvPr userDrawn="1"/>
        </p:nvCxnSpPr>
        <p:spPr>
          <a:xfrm>
            <a:off x="12203810" y="4339449"/>
            <a:ext cx="265807" cy="0"/>
          </a:xfrm>
          <a:prstGeom prst="line">
            <a:avLst/>
          </a:prstGeom>
          <a:ln/>
        </p:spPr>
        <p:style>
          <a:lnRef idx="1">
            <a:schemeClr val="dk1"/>
          </a:lnRef>
          <a:fillRef idx="0">
            <a:schemeClr val="dk1"/>
          </a:fillRef>
          <a:effectRef idx="0">
            <a:schemeClr val="dk1"/>
          </a:effectRef>
          <a:fontRef idx="minor">
            <a:schemeClr val="tx1"/>
          </a:fontRef>
        </p:style>
      </p:cxnSp>
      <p:sp>
        <p:nvSpPr>
          <p:cNvPr id="68" name="TextBox 21"/>
          <p:cNvSpPr txBox="1"/>
          <p:nvPr userDrawn="1"/>
        </p:nvSpPr>
        <p:spPr>
          <a:xfrm>
            <a:off x="-808919" y="4592996"/>
            <a:ext cx="747431" cy="431400"/>
          </a:xfrm>
          <a:prstGeom prst="rect">
            <a:avLst/>
          </a:prstGeom>
          <a:noFill/>
          <a:ln>
            <a:noFill/>
          </a:ln>
        </p:spPr>
        <p:txBody>
          <a:bodyPr wrap="square" lIns="0" tIns="0" rIns="0" bIns="0" rtlCol="0">
            <a:spAutoFit/>
          </a:bodyPr>
          <a:lstStyle/>
          <a:p>
            <a:pPr algn="r">
              <a:spcAft>
                <a:spcPts val="270"/>
              </a:spcAft>
            </a:pPr>
            <a:r>
              <a:rPr lang="en-US" sz="701" baseline="0" noProof="0" dirty="0" smtClean="0">
                <a:ln>
                  <a:noFill/>
                </a:ln>
                <a:solidFill>
                  <a:schemeClr val="bg1">
                    <a:lumMod val="65000"/>
                  </a:schemeClr>
                </a:solidFill>
              </a:rPr>
              <a:t>Grey markers</a:t>
            </a:r>
            <a:r>
              <a:rPr lang="en-US" sz="701" dirty="0" smtClean="0">
                <a:ln>
                  <a:noFill/>
                </a:ln>
                <a:solidFill>
                  <a:schemeClr val="bg1">
                    <a:lumMod val="65000"/>
                  </a:schemeClr>
                </a:solidFill>
              </a:rPr>
              <a:t> indicate position of Deloitte Drawing Guides</a:t>
            </a:r>
            <a:endParaRPr lang="en-US" sz="701" baseline="0" noProof="0" dirty="0" smtClean="0">
              <a:ln>
                <a:noFill/>
              </a:ln>
              <a:solidFill>
                <a:schemeClr val="bg1">
                  <a:lumMod val="65000"/>
                </a:schemeClr>
              </a:solidFill>
            </a:endParaRPr>
          </a:p>
        </p:txBody>
      </p:sp>
      <p:cxnSp>
        <p:nvCxnSpPr>
          <p:cNvPr id="69" name="Straight Arrow Connector 12"/>
          <p:cNvCxnSpPr/>
          <p:nvPr userDrawn="1"/>
        </p:nvCxnSpPr>
        <p:spPr>
          <a:xfrm>
            <a:off x="-381894" y="4462068"/>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0" name="Straight Arrow Connector 12"/>
          <p:cNvCxnSpPr/>
          <p:nvPr userDrawn="1"/>
        </p:nvCxnSpPr>
        <p:spPr>
          <a:xfrm>
            <a:off x="-392411"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1" name="Straight Arrow Connector 12"/>
          <p:cNvCxnSpPr/>
          <p:nvPr userDrawn="1"/>
        </p:nvCxnSpPr>
        <p:spPr>
          <a:xfrm>
            <a:off x="6015633"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2" name="Straight Arrow Connector 12"/>
          <p:cNvCxnSpPr/>
          <p:nvPr userDrawn="1"/>
        </p:nvCxnSpPr>
        <p:spPr>
          <a:xfrm>
            <a:off x="6015633" y="4463033"/>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3" name="Straight Arrow Connector 14"/>
          <p:cNvCxnSpPr/>
          <p:nvPr userDrawn="1"/>
        </p:nvCxnSpPr>
        <p:spPr>
          <a:xfrm>
            <a:off x="5738945"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4" name="Straight Arrow Connector 14"/>
          <p:cNvCxnSpPr/>
          <p:nvPr userDrawn="1"/>
        </p:nvCxnSpPr>
        <p:spPr>
          <a:xfrm>
            <a:off x="226418" y="-29095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75" name="Straight Arrow Connector 14"/>
          <p:cNvCxnSpPr/>
          <p:nvPr userDrawn="1"/>
        </p:nvCxnSpPr>
        <p:spPr>
          <a:xfrm>
            <a:off x="5738945" y="-320178"/>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86" name="Straight Arrow Connector 14"/>
          <p:cNvCxnSpPr/>
          <p:nvPr userDrawn="1"/>
        </p:nvCxnSpPr>
        <p:spPr>
          <a:xfrm>
            <a:off x="226418"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
        <p:nvSpPr>
          <p:cNvPr id="50" name="Picture Placeholder 8"/>
          <p:cNvSpPr>
            <a:spLocks noGrp="1"/>
          </p:cNvSpPr>
          <p:nvPr>
            <p:ph type="pic" sz="quarter" idx="12" hasCustomPrompt="1"/>
          </p:nvPr>
        </p:nvSpPr>
        <p:spPr>
          <a:xfrm>
            <a:off x="4996211" y="322845"/>
            <a:ext cx="742735" cy="339524"/>
          </a:xfrm>
          <a:prstGeom prst="rect">
            <a:avLst/>
          </a:prstGeom>
        </p:spPr>
        <p:txBody>
          <a:bodyPr/>
          <a:lstStyle>
            <a:lvl1pPr>
              <a:defRPr b="1" baseline="0">
                <a:solidFill>
                  <a:schemeClr val="bg1"/>
                </a:solidFill>
                <a:latin typeface="Calibri" panose="020F0502020204030204" pitchFamily="34" charset="0"/>
                <a:cs typeface="Calibri" panose="020F0502020204030204" pitchFamily="34" charset="0"/>
              </a:defRPr>
            </a:lvl1pPr>
          </a:lstStyle>
          <a:p>
            <a:r>
              <a:rPr lang="en-US" noProof="0" dirty="0" smtClean="0"/>
              <a:t>Co-brand logo here</a:t>
            </a:r>
          </a:p>
          <a:p>
            <a:endParaRPr lang="en-US" noProof="0" dirty="0"/>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80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首頁_白底圖片_COBRAND">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232712" y="3353741"/>
            <a:ext cx="2738900" cy="1021276"/>
          </a:xfrm>
          <a:prstGeom prst="rect">
            <a:avLst/>
          </a:prstGeom>
        </p:spPr>
        <p:txBody>
          <a:bodyPr lIns="0" tIns="0" rIns="0" bIns="0" anchor="b" anchorCtr="0">
            <a:noAutofit/>
          </a:bodyPr>
          <a:lstStyle>
            <a:lvl1pPr marL="0" indent="0" algn="l">
              <a:lnSpc>
                <a:spcPct val="100000"/>
              </a:lnSpc>
              <a:spcAft>
                <a:spcPts val="0"/>
              </a:spcAft>
              <a:buNone/>
              <a:defRPr sz="1800" b="0">
                <a:solidFill>
                  <a:srgbClr val="86BC25"/>
                </a:solidFill>
                <a:latin typeface="Calibri" panose="020F0502020204030204" pitchFamily="34" charset="0"/>
                <a:ea typeface="+mj-ea"/>
                <a:cs typeface="Calibri" panose="020F0502020204030204" pitchFamily="34" charset="0"/>
              </a:defRPr>
            </a:lvl1pPr>
            <a:lvl2pPr marL="0" indent="0" algn="l">
              <a:buNone/>
              <a:defRPr sz="1800" b="0">
                <a:latin typeface="Calibri" panose="020F0502020204030204" pitchFamily="34" charset="0"/>
                <a:ea typeface="+mj-ea"/>
                <a:cs typeface="Calibri" panose="020F0502020204030204" pitchFamily="34" charset="0"/>
              </a:defRPr>
            </a:lvl2pPr>
            <a:lvl3pPr marL="1219179" indent="0" algn="ctr">
              <a:buNone/>
              <a:defRPr sz="2400"/>
            </a:lvl3pPr>
            <a:lvl4pPr marL="1828768" indent="0" algn="ctr">
              <a:buNone/>
              <a:defRPr sz="2132"/>
            </a:lvl4pPr>
            <a:lvl5pPr marL="2438358" indent="0" algn="ctr">
              <a:buNone/>
              <a:defRPr sz="2132"/>
            </a:lvl5pPr>
            <a:lvl6pPr marL="3047945" indent="0" algn="ctr">
              <a:buNone/>
              <a:defRPr sz="2132"/>
            </a:lvl6pPr>
            <a:lvl7pPr marL="3657535" indent="0" algn="ctr">
              <a:buNone/>
              <a:defRPr sz="2132"/>
            </a:lvl7pPr>
            <a:lvl8pPr marL="4267122" indent="0" algn="ctr">
              <a:buNone/>
              <a:defRPr sz="2132"/>
            </a:lvl8pPr>
            <a:lvl9pPr marL="4876714" indent="0" algn="ctr">
              <a:buNone/>
              <a:defRPr sz="2132"/>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232711" y="4383197"/>
            <a:ext cx="2738900" cy="205600"/>
          </a:xfrm>
          <a:prstGeom prst="rect">
            <a:avLst/>
          </a:prstGeom>
        </p:spPr>
        <p:txBody>
          <a:bodyPr>
            <a:noAutofit/>
          </a:bodyPr>
          <a:lstStyle>
            <a:lvl1pPr>
              <a:spcAft>
                <a:spcPts val="0"/>
              </a:spcAft>
              <a:defRPr sz="1052">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TW" altLang="en-US" noProof="0" smtClean="0"/>
              <a:t>編輯母片文字樣式</a:t>
            </a:r>
          </a:p>
        </p:txBody>
      </p:sp>
      <p:sp>
        <p:nvSpPr>
          <p:cNvPr id="30" name="Picture Placeholder 8"/>
          <p:cNvSpPr>
            <a:spLocks noGrp="1"/>
          </p:cNvSpPr>
          <p:nvPr>
            <p:ph type="pic" sz="quarter" idx="11"/>
          </p:nvPr>
        </p:nvSpPr>
        <p:spPr>
          <a:xfrm>
            <a:off x="1661507" y="501232"/>
            <a:ext cx="2643750" cy="3720000"/>
          </a:xfrm>
          <a:prstGeom prst="rect">
            <a:avLst/>
          </a:prstGeom>
        </p:spPr>
        <p:txBody>
          <a:bodyPr/>
          <a:lstStyle/>
          <a:p>
            <a:r>
              <a:rPr lang="zh-TW" altLang="en-US" noProof="0" smtClean="0"/>
              <a:t>按一下圖示以新增圖片</a:t>
            </a:r>
            <a:endParaRPr lang="en-US" noProof="0" dirty="0"/>
          </a:p>
        </p:txBody>
      </p:sp>
      <p:grpSp>
        <p:nvGrpSpPr>
          <p:cNvPr id="16" name="群組 15"/>
          <p:cNvGrpSpPr/>
          <p:nvPr userDrawn="1"/>
        </p:nvGrpSpPr>
        <p:grpSpPr>
          <a:xfrm>
            <a:off x="232713" y="313032"/>
            <a:ext cx="795506" cy="485893"/>
            <a:chOff x="4927725" y="1160266"/>
            <a:chExt cx="3981923" cy="1728492"/>
          </a:xfrm>
        </p:grpSpPr>
        <p:sp>
          <p:nvSpPr>
            <p:cNvPr id="17" name="Freeform 6"/>
            <p:cNvSpPr>
              <a:spLocks noEditPoints="1"/>
            </p:cNvSpPr>
            <p:nvPr/>
          </p:nvSpPr>
          <p:spPr bwMode="auto">
            <a:xfrm>
              <a:off x="4930768" y="2156888"/>
              <a:ext cx="704482" cy="725784"/>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dirty="0"/>
            </a:p>
          </p:txBody>
        </p:sp>
        <p:sp>
          <p:nvSpPr>
            <p:cNvPr id="18" name="Freeform 11"/>
            <p:cNvSpPr>
              <a:spLocks noEditPoints="1"/>
            </p:cNvSpPr>
            <p:nvPr/>
          </p:nvSpPr>
          <p:spPr bwMode="auto">
            <a:xfrm>
              <a:off x="5731109" y="2156888"/>
              <a:ext cx="728827" cy="730349"/>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31" name="Freeform 15"/>
            <p:cNvSpPr>
              <a:spLocks/>
            </p:cNvSpPr>
            <p:nvPr/>
          </p:nvSpPr>
          <p:spPr bwMode="auto">
            <a:xfrm>
              <a:off x="6537536" y="2429247"/>
              <a:ext cx="693831" cy="459511"/>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32" name="Freeform 16"/>
            <p:cNvSpPr>
              <a:spLocks/>
            </p:cNvSpPr>
            <p:nvPr/>
          </p:nvSpPr>
          <p:spPr bwMode="auto">
            <a:xfrm>
              <a:off x="6946835" y="2538799"/>
              <a:ext cx="313441" cy="324092"/>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33" name="Freeform 18"/>
            <p:cNvSpPr>
              <a:spLocks noEditPoints="1"/>
            </p:cNvSpPr>
            <p:nvPr/>
          </p:nvSpPr>
          <p:spPr bwMode="auto">
            <a:xfrm>
              <a:off x="6574053" y="2185797"/>
              <a:ext cx="645142" cy="229756"/>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34" name="Freeform 23"/>
            <p:cNvSpPr>
              <a:spLocks/>
            </p:cNvSpPr>
            <p:nvPr/>
          </p:nvSpPr>
          <p:spPr bwMode="auto">
            <a:xfrm>
              <a:off x="7585891" y="2196448"/>
              <a:ext cx="435166" cy="63906"/>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35" name="Freeform 25"/>
            <p:cNvSpPr>
              <a:spLocks/>
            </p:cNvSpPr>
            <p:nvPr/>
          </p:nvSpPr>
          <p:spPr bwMode="auto">
            <a:xfrm>
              <a:off x="7555459" y="2316651"/>
              <a:ext cx="505158" cy="71513"/>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36" name="Freeform 27"/>
            <p:cNvSpPr>
              <a:spLocks/>
            </p:cNvSpPr>
            <p:nvPr/>
          </p:nvSpPr>
          <p:spPr bwMode="auto">
            <a:xfrm>
              <a:off x="7333312" y="2164495"/>
              <a:ext cx="223669" cy="721219"/>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37" name="Freeform 30"/>
            <p:cNvSpPr>
              <a:spLocks/>
            </p:cNvSpPr>
            <p:nvPr/>
          </p:nvSpPr>
          <p:spPr bwMode="auto">
            <a:xfrm>
              <a:off x="7579804" y="2435333"/>
              <a:ext cx="447339" cy="63906"/>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38" name="Freeform 31"/>
            <p:cNvSpPr>
              <a:spLocks/>
            </p:cNvSpPr>
            <p:nvPr/>
          </p:nvSpPr>
          <p:spPr bwMode="auto">
            <a:xfrm>
              <a:off x="7579804" y="2544885"/>
              <a:ext cx="447339" cy="65427"/>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39" name="Freeform 33"/>
            <p:cNvSpPr>
              <a:spLocks noEditPoints="1"/>
            </p:cNvSpPr>
            <p:nvPr/>
          </p:nvSpPr>
          <p:spPr bwMode="auto">
            <a:xfrm>
              <a:off x="7585891" y="2659002"/>
              <a:ext cx="435166" cy="217583"/>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0" name="Freeform 36"/>
            <p:cNvSpPr>
              <a:spLocks/>
            </p:cNvSpPr>
            <p:nvPr/>
          </p:nvSpPr>
          <p:spPr bwMode="auto">
            <a:xfrm>
              <a:off x="8701194" y="1691290"/>
              <a:ext cx="208454" cy="213018"/>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1" name="Freeform 38"/>
            <p:cNvSpPr>
              <a:spLocks noEditPoints="1"/>
            </p:cNvSpPr>
            <p:nvPr/>
          </p:nvSpPr>
          <p:spPr bwMode="auto">
            <a:xfrm>
              <a:off x="4927725" y="1163309"/>
              <a:ext cx="604059" cy="728827"/>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2" name="Rectangle 41"/>
            <p:cNvSpPr>
              <a:spLocks noChangeArrowheads="1"/>
            </p:cNvSpPr>
            <p:nvPr/>
          </p:nvSpPr>
          <p:spPr bwMode="auto">
            <a:xfrm>
              <a:off x="6170840" y="1160266"/>
              <a:ext cx="184109" cy="731870"/>
            </a:xfrm>
            <a:prstGeom prst="rect">
              <a:avLst/>
            </a:prstGeom>
            <a:solidFill>
              <a:schemeClr val="tx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3" name="Freeform 42"/>
            <p:cNvSpPr>
              <a:spLocks noEditPoints="1"/>
            </p:cNvSpPr>
            <p:nvPr/>
          </p:nvSpPr>
          <p:spPr bwMode="auto">
            <a:xfrm>
              <a:off x="6426462" y="1338288"/>
              <a:ext cx="529503" cy="56449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4" name="Rectangle 45"/>
            <p:cNvSpPr>
              <a:spLocks noChangeArrowheads="1"/>
            </p:cNvSpPr>
            <p:nvPr/>
          </p:nvSpPr>
          <p:spPr bwMode="auto">
            <a:xfrm>
              <a:off x="7029000" y="1347418"/>
              <a:ext cx="184109" cy="544718"/>
            </a:xfrm>
            <a:prstGeom prst="rect">
              <a:avLst/>
            </a:prstGeom>
            <a:solidFill>
              <a:schemeClr val="tx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5" name="Rectangle 46"/>
            <p:cNvSpPr>
              <a:spLocks noChangeArrowheads="1"/>
            </p:cNvSpPr>
            <p:nvPr/>
          </p:nvSpPr>
          <p:spPr bwMode="auto">
            <a:xfrm>
              <a:off x="7029000" y="1160266"/>
              <a:ext cx="184109" cy="121725"/>
            </a:xfrm>
            <a:prstGeom prst="rect">
              <a:avLst/>
            </a:prstGeom>
            <a:solidFill>
              <a:schemeClr val="tx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6" name="Freeform 47"/>
            <p:cNvSpPr>
              <a:spLocks/>
            </p:cNvSpPr>
            <p:nvPr/>
          </p:nvSpPr>
          <p:spPr bwMode="auto">
            <a:xfrm>
              <a:off x="7286143" y="1177003"/>
              <a:ext cx="386476" cy="725784"/>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7" name="Freeform 49"/>
            <p:cNvSpPr>
              <a:spLocks/>
            </p:cNvSpPr>
            <p:nvPr/>
          </p:nvSpPr>
          <p:spPr bwMode="auto">
            <a:xfrm>
              <a:off x="7710659" y="1177003"/>
              <a:ext cx="386476" cy="725784"/>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8" name="Freeform 51"/>
            <p:cNvSpPr>
              <a:spLocks noEditPoints="1"/>
            </p:cNvSpPr>
            <p:nvPr/>
          </p:nvSpPr>
          <p:spPr bwMode="auto">
            <a:xfrm>
              <a:off x="8139739" y="1338288"/>
              <a:ext cx="512766" cy="56449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9" name="Freeform 54"/>
            <p:cNvSpPr>
              <a:spLocks noEditPoints="1"/>
            </p:cNvSpPr>
            <p:nvPr/>
          </p:nvSpPr>
          <p:spPr bwMode="auto">
            <a:xfrm>
              <a:off x="5586560" y="1338288"/>
              <a:ext cx="512766" cy="56449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grpSp>
      <p:sp>
        <p:nvSpPr>
          <p:cNvPr id="55" name="TextBox 21"/>
          <p:cNvSpPr txBox="1"/>
          <p:nvPr userDrawn="1"/>
        </p:nvSpPr>
        <p:spPr>
          <a:xfrm>
            <a:off x="-808919" y="4592996"/>
            <a:ext cx="747431" cy="431400"/>
          </a:xfrm>
          <a:prstGeom prst="rect">
            <a:avLst/>
          </a:prstGeom>
          <a:noFill/>
          <a:ln>
            <a:noFill/>
          </a:ln>
        </p:spPr>
        <p:txBody>
          <a:bodyPr wrap="square" lIns="0" tIns="0" rIns="0" bIns="0" rtlCol="0">
            <a:spAutoFit/>
          </a:bodyPr>
          <a:lstStyle/>
          <a:p>
            <a:pPr algn="r">
              <a:spcAft>
                <a:spcPts val="270"/>
              </a:spcAft>
            </a:pPr>
            <a:r>
              <a:rPr lang="en-US" sz="701" baseline="0" noProof="0" dirty="0" smtClean="0">
                <a:ln>
                  <a:noFill/>
                </a:ln>
                <a:solidFill>
                  <a:schemeClr val="bg1">
                    <a:lumMod val="65000"/>
                  </a:schemeClr>
                </a:solidFill>
              </a:rPr>
              <a:t>Grey markers</a:t>
            </a:r>
            <a:r>
              <a:rPr lang="en-US" sz="701" dirty="0" smtClean="0">
                <a:ln>
                  <a:noFill/>
                </a:ln>
                <a:solidFill>
                  <a:schemeClr val="bg1">
                    <a:lumMod val="65000"/>
                  </a:schemeClr>
                </a:solidFill>
              </a:rPr>
              <a:t> indicate position of Deloitte Drawing Guides</a:t>
            </a:r>
            <a:endParaRPr lang="en-US" sz="701" baseline="0" noProof="0" dirty="0" smtClean="0">
              <a:ln>
                <a:noFill/>
              </a:ln>
              <a:solidFill>
                <a:schemeClr val="bg1">
                  <a:lumMod val="65000"/>
                </a:schemeClr>
              </a:solidFill>
            </a:endParaRPr>
          </a:p>
        </p:txBody>
      </p:sp>
      <p:cxnSp>
        <p:nvCxnSpPr>
          <p:cNvPr id="56" name="Straight Arrow Connector 12"/>
          <p:cNvCxnSpPr/>
          <p:nvPr userDrawn="1"/>
        </p:nvCxnSpPr>
        <p:spPr>
          <a:xfrm>
            <a:off x="-381894" y="4462068"/>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7" name="Straight Arrow Connector 12"/>
          <p:cNvCxnSpPr/>
          <p:nvPr userDrawn="1"/>
        </p:nvCxnSpPr>
        <p:spPr>
          <a:xfrm>
            <a:off x="-392411"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8" name="Straight Arrow Connector 12"/>
          <p:cNvCxnSpPr/>
          <p:nvPr userDrawn="1"/>
        </p:nvCxnSpPr>
        <p:spPr>
          <a:xfrm>
            <a:off x="6015633"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9" name="Straight Arrow Connector 12"/>
          <p:cNvCxnSpPr/>
          <p:nvPr userDrawn="1"/>
        </p:nvCxnSpPr>
        <p:spPr>
          <a:xfrm>
            <a:off x="6015633" y="4463033"/>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0" name="Straight Arrow Connector 14"/>
          <p:cNvCxnSpPr/>
          <p:nvPr userDrawn="1"/>
        </p:nvCxnSpPr>
        <p:spPr>
          <a:xfrm>
            <a:off x="5738945"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1" name="Straight Arrow Connector 14"/>
          <p:cNvCxnSpPr/>
          <p:nvPr userDrawn="1"/>
        </p:nvCxnSpPr>
        <p:spPr>
          <a:xfrm>
            <a:off x="226418" y="-29095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2" name="Straight Arrow Connector 14"/>
          <p:cNvCxnSpPr/>
          <p:nvPr userDrawn="1"/>
        </p:nvCxnSpPr>
        <p:spPr>
          <a:xfrm>
            <a:off x="5738945" y="-320178"/>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3" name="Straight Arrow Connector 14"/>
          <p:cNvCxnSpPr/>
          <p:nvPr userDrawn="1"/>
        </p:nvCxnSpPr>
        <p:spPr>
          <a:xfrm>
            <a:off x="226418"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
        <p:nvSpPr>
          <p:cNvPr id="52" name="Picture Placeholder 8"/>
          <p:cNvSpPr>
            <a:spLocks noGrp="1"/>
          </p:cNvSpPr>
          <p:nvPr>
            <p:ph type="pic" sz="quarter" idx="12" hasCustomPrompt="1"/>
          </p:nvPr>
        </p:nvSpPr>
        <p:spPr>
          <a:xfrm>
            <a:off x="4996211" y="322845"/>
            <a:ext cx="742735" cy="339524"/>
          </a:xfrm>
          <a:prstGeom prst="rect">
            <a:avLst/>
          </a:prstGeom>
        </p:spPr>
        <p:txBody>
          <a:bodyPr/>
          <a:lstStyle>
            <a:lvl1pPr>
              <a:defRPr b="1" baseline="0">
                <a:solidFill>
                  <a:schemeClr val="tx1"/>
                </a:solidFill>
                <a:latin typeface="Calibri" panose="020F0502020204030204" pitchFamily="34" charset="0"/>
                <a:cs typeface="Calibri" panose="020F0502020204030204" pitchFamily="34" charset="0"/>
              </a:defRPr>
            </a:lvl1pPr>
          </a:lstStyle>
          <a:p>
            <a:r>
              <a:rPr lang="en-US" noProof="0" dirty="0" smtClean="0"/>
              <a:t>Co-brand logo here</a:t>
            </a:r>
          </a:p>
          <a:p>
            <a:endParaRPr lang="en-US" noProof="0" dirty="0"/>
          </a:p>
        </p:txBody>
      </p:sp>
    </p:spTree>
    <p:extLst>
      <p:ext uri="{BB962C8B-B14F-4D97-AF65-F5344CB8AC3E}">
        <p14:creationId xmlns:p14="http://schemas.microsoft.com/office/powerpoint/2010/main" val="278307946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816"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首頁_黑底文字_CO-BRAND">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061219" y="1054310"/>
            <a:ext cx="1850625" cy="2604000"/>
          </a:xfrm>
          <a:prstGeom prst="ellipse">
            <a:avLst/>
          </a:prstGeom>
          <a:ln w="25400">
            <a:solidFill>
              <a:schemeClr val="accent1"/>
            </a:solidFill>
          </a:ln>
        </p:spPr>
        <p:txBody>
          <a:bodyPr lIns="108000" tIns="108000" rIns="108000" bIns="108000" anchor="ctr" anchorCtr="0">
            <a:normAutofit/>
          </a:bodyPr>
          <a:lstStyle>
            <a:lvl1pPr algn="ctr">
              <a:lnSpc>
                <a:spcPts val="3799"/>
              </a:lnSpc>
              <a:defRPr sz="3201" b="0">
                <a:solidFill>
                  <a:schemeClr val="bg1"/>
                </a:solidFill>
                <a:latin typeface="+mj-lt"/>
                <a:ea typeface="+mj-ea"/>
                <a:cs typeface="Open Sans" panose="020B0606030504020204" pitchFamily="34" charset="0"/>
              </a:defRPr>
            </a:lvl1pPr>
          </a:lstStyle>
          <a:p>
            <a:r>
              <a:rPr lang="zh-TW" altLang="en-US" noProof="0" smtClean="0"/>
              <a:t>按一下以編輯母片標題樣式</a:t>
            </a:r>
            <a:endParaRPr lang="en-US" noProof="0" dirty="0"/>
          </a:p>
        </p:txBody>
      </p:sp>
      <p:sp>
        <p:nvSpPr>
          <p:cNvPr id="3" name="Subtitle 2"/>
          <p:cNvSpPr>
            <a:spLocks noGrp="1"/>
          </p:cNvSpPr>
          <p:nvPr>
            <p:ph type="subTitle" idx="1"/>
          </p:nvPr>
        </p:nvSpPr>
        <p:spPr bwMode="gray">
          <a:xfrm>
            <a:off x="232651" y="4026685"/>
            <a:ext cx="2737755" cy="348333"/>
          </a:xfrm>
          <a:prstGeom prst="rect">
            <a:avLst/>
          </a:prstGeom>
        </p:spPr>
        <p:txBody>
          <a:bodyPr lIns="0" tIns="0" rIns="0" bIns="0" anchor="b" anchorCtr="0">
            <a:noAutofit/>
          </a:bodyPr>
          <a:lstStyle>
            <a:lvl1pPr marL="0" indent="0" algn="l">
              <a:lnSpc>
                <a:spcPct val="100000"/>
              </a:lnSpc>
              <a:spcAft>
                <a:spcPts val="0"/>
              </a:spcAft>
              <a:buNone/>
              <a:defRPr sz="1599">
                <a:solidFill>
                  <a:schemeClr val="bg1"/>
                </a:solidFill>
                <a:latin typeface="+mj-lt"/>
              </a:defRPr>
            </a:lvl1pPr>
            <a:lvl2pPr marL="609589" indent="0" algn="ctr">
              <a:buNone/>
              <a:defRPr sz="2668"/>
            </a:lvl2pPr>
            <a:lvl3pPr marL="1219179" indent="0" algn="ctr">
              <a:buNone/>
              <a:defRPr sz="2400"/>
            </a:lvl3pPr>
            <a:lvl4pPr marL="1828768" indent="0" algn="ctr">
              <a:buNone/>
              <a:defRPr sz="2132"/>
            </a:lvl4pPr>
            <a:lvl5pPr marL="2438358" indent="0" algn="ctr">
              <a:buNone/>
              <a:defRPr sz="2132"/>
            </a:lvl5pPr>
            <a:lvl6pPr marL="3047945" indent="0" algn="ctr">
              <a:buNone/>
              <a:defRPr sz="2132"/>
            </a:lvl6pPr>
            <a:lvl7pPr marL="3657535" indent="0" algn="ctr">
              <a:buNone/>
              <a:defRPr sz="2132"/>
            </a:lvl7pPr>
            <a:lvl8pPr marL="4267122" indent="0" algn="ctr">
              <a:buNone/>
              <a:defRPr sz="2132"/>
            </a:lvl8pPr>
            <a:lvl9pPr marL="4876714" indent="0" algn="ctr">
              <a:buNone/>
              <a:defRPr sz="2132"/>
            </a:lvl9pPr>
          </a:lstStyle>
          <a:p>
            <a:r>
              <a:rPr lang="zh-TW" altLang="en-US" noProof="0" smtClean="0"/>
              <a:t>按一下以編輯母片副標題樣式</a:t>
            </a:r>
            <a:endParaRPr lang="en-US" noProof="0" dirty="0"/>
          </a:p>
        </p:txBody>
      </p:sp>
      <p:sp>
        <p:nvSpPr>
          <p:cNvPr id="5" name="Text Placeholder 4"/>
          <p:cNvSpPr>
            <a:spLocks noGrp="1"/>
          </p:cNvSpPr>
          <p:nvPr>
            <p:ph type="body" sz="quarter" idx="10"/>
          </p:nvPr>
        </p:nvSpPr>
        <p:spPr>
          <a:xfrm>
            <a:off x="232650" y="4383197"/>
            <a:ext cx="2738900" cy="205600"/>
          </a:xfrm>
          <a:prstGeom prst="rect">
            <a:avLst/>
          </a:prstGeom>
        </p:spPr>
        <p:txBody>
          <a:bodyPr/>
          <a:lstStyle>
            <a:lvl1pPr>
              <a:spcAft>
                <a:spcPts val="0"/>
              </a:spcAft>
              <a:defRPr sz="1052">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TW" altLang="en-US" noProof="0" smtClean="0"/>
              <a:t>編輯母片文字樣式</a:t>
            </a:r>
          </a:p>
        </p:txBody>
      </p:sp>
      <p:grpSp>
        <p:nvGrpSpPr>
          <p:cNvPr id="22" name="群組 21"/>
          <p:cNvGrpSpPr/>
          <p:nvPr userDrawn="1"/>
        </p:nvGrpSpPr>
        <p:grpSpPr>
          <a:xfrm>
            <a:off x="226420" y="317198"/>
            <a:ext cx="795506" cy="485893"/>
            <a:chOff x="4927725" y="1160266"/>
            <a:chExt cx="3981923" cy="1728492"/>
          </a:xfrm>
        </p:grpSpPr>
        <p:sp>
          <p:nvSpPr>
            <p:cNvPr id="23" name="Freeform 6"/>
            <p:cNvSpPr>
              <a:spLocks noEditPoints="1"/>
            </p:cNvSpPr>
            <p:nvPr/>
          </p:nvSpPr>
          <p:spPr bwMode="auto">
            <a:xfrm>
              <a:off x="4930768" y="2156888"/>
              <a:ext cx="704482" cy="725784"/>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dirty="0"/>
            </a:p>
          </p:txBody>
        </p:sp>
        <p:sp>
          <p:nvSpPr>
            <p:cNvPr id="24" name="Freeform 11"/>
            <p:cNvSpPr>
              <a:spLocks noEditPoints="1"/>
            </p:cNvSpPr>
            <p:nvPr/>
          </p:nvSpPr>
          <p:spPr bwMode="auto">
            <a:xfrm>
              <a:off x="5731109" y="2156888"/>
              <a:ext cx="728827" cy="730349"/>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25" name="Freeform 15"/>
            <p:cNvSpPr>
              <a:spLocks/>
            </p:cNvSpPr>
            <p:nvPr/>
          </p:nvSpPr>
          <p:spPr bwMode="auto">
            <a:xfrm>
              <a:off x="6537536" y="2429247"/>
              <a:ext cx="693831" cy="459511"/>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6" name="Freeform 16"/>
            <p:cNvSpPr>
              <a:spLocks/>
            </p:cNvSpPr>
            <p:nvPr/>
          </p:nvSpPr>
          <p:spPr bwMode="auto">
            <a:xfrm>
              <a:off x="6946835" y="2538799"/>
              <a:ext cx="313441" cy="324092"/>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27" name="Freeform 18"/>
            <p:cNvSpPr>
              <a:spLocks noEditPoints="1"/>
            </p:cNvSpPr>
            <p:nvPr/>
          </p:nvSpPr>
          <p:spPr bwMode="auto">
            <a:xfrm>
              <a:off x="6574053" y="2185797"/>
              <a:ext cx="645142" cy="229756"/>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28" name="Freeform 23"/>
            <p:cNvSpPr>
              <a:spLocks/>
            </p:cNvSpPr>
            <p:nvPr/>
          </p:nvSpPr>
          <p:spPr bwMode="auto">
            <a:xfrm>
              <a:off x="7585891" y="2196448"/>
              <a:ext cx="435166" cy="63906"/>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29" name="Freeform 25"/>
            <p:cNvSpPr>
              <a:spLocks/>
            </p:cNvSpPr>
            <p:nvPr/>
          </p:nvSpPr>
          <p:spPr bwMode="auto">
            <a:xfrm>
              <a:off x="7555459" y="2316651"/>
              <a:ext cx="505158" cy="71513"/>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30" name="Freeform 27"/>
            <p:cNvSpPr>
              <a:spLocks/>
            </p:cNvSpPr>
            <p:nvPr/>
          </p:nvSpPr>
          <p:spPr bwMode="auto">
            <a:xfrm>
              <a:off x="7333312" y="2164495"/>
              <a:ext cx="223669" cy="721219"/>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31" name="Freeform 30"/>
            <p:cNvSpPr>
              <a:spLocks/>
            </p:cNvSpPr>
            <p:nvPr/>
          </p:nvSpPr>
          <p:spPr bwMode="auto">
            <a:xfrm>
              <a:off x="7579804" y="2435333"/>
              <a:ext cx="447339" cy="63906"/>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32" name="Freeform 31"/>
            <p:cNvSpPr>
              <a:spLocks/>
            </p:cNvSpPr>
            <p:nvPr/>
          </p:nvSpPr>
          <p:spPr bwMode="auto">
            <a:xfrm>
              <a:off x="7579804" y="2544885"/>
              <a:ext cx="447339" cy="65427"/>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38" name="Freeform 33"/>
            <p:cNvSpPr>
              <a:spLocks noEditPoints="1"/>
            </p:cNvSpPr>
            <p:nvPr/>
          </p:nvSpPr>
          <p:spPr bwMode="auto">
            <a:xfrm>
              <a:off x="7585891" y="2659002"/>
              <a:ext cx="435166" cy="217583"/>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39" name="Freeform 36"/>
            <p:cNvSpPr>
              <a:spLocks/>
            </p:cNvSpPr>
            <p:nvPr/>
          </p:nvSpPr>
          <p:spPr bwMode="auto">
            <a:xfrm>
              <a:off x="8701194" y="1691290"/>
              <a:ext cx="208454" cy="213018"/>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0" name="Freeform 38"/>
            <p:cNvSpPr>
              <a:spLocks noEditPoints="1"/>
            </p:cNvSpPr>
            <p:nvPr/>
          </p:nvSpPr>
          <p:spPr bwMode="auto">
            <a:xfrm>
              <a:off x="4927725" y="1163309"/>
              <a:ext cx="604059" cy="728827"/>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1" name="Rectangle 41"/>
            <p:cNvSpPr>
              <a:spLocks noChangeArrowheads="1"/>
            </p:cNvSpPr>
            <p:nvPr/>
          </p:nvSpPr>
          <p:spPr bwMode="auto">
            <a:xfrm>
              <a:off x="6170840" y="1160266"/>
              <a:ext cx="184109" cy="731870"/>
            </a:xfrm>
            <a:prstGeom prst="rect">
              <a:avLst/>
            </a:prstGeom>
            <a:solidFill>
              <a:schemeClr val="bg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2" name="Freeform 42"/>
            <p:cNvSpPr>
              <a:spLocks noEditPoints="1"/>
            </p:cNvSpPr>
            <p:nvPr/>
          </p:nvSpPr>
          <p:spPr bwMode="auto">
            <a:xfrm>
              <a:off x="6426462" y="1338288"/>
              <a:ext cx="529503" cy="56449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3" name="Rectangle 45"/>
            <p:cNvSpPr>
              <a:spLocks noChangeArrowheads="1"/>
            </p:cNvSpPr>
            <p:nvPr/>
          </p:nvSpPr>
          <p:spPr bwMode="auto">
            <a:xfrm>
              <a:off x="7029000" y="1347418"/>
              <a:ext cx="184109" cy="544718"/>
            </a:xfrm>
            <a:prstGeom prst="rect">
              <a:avLst/>
            </a:prstGeom>
            <a:solidFill>
              <a:schemeClr val="bg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4" name="Rectangle 46"/>
            <p:cNvSpPr>
              <a:spLocks noChangeArrowheads="1"/>
            </p:cNvSpPr>
            <p:nvPr/>
          </p:nvSpPr>
          <p:spPr bwMode="auto">
            <a:xfrm>
              <a:off x="7029000" y="1160266"/>
              <a:ext cx="184109" cy="121725"/>
            </a:xfrm>
            <a:prstGeom prst="rect">
              <a:avLst/>
            </a:prstGeom>
            <a:solidFill>
              <a:schemeClr val="bg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5" name="Freeform 47"/>
            <p:cNvSpPr>
              <a:spLocks/>
            </p:cNvSpPr>
            <p:nvPr/>
          </p:nvSpPr>
          <p:spPr bwMode="auto">
            <a:xfrm>
              <a:off x="7286143" y="1177003"/>
              <a:ext cx="386476" cy="725784"/>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6" name="Freeform 49"/>
            <p:cNvSpPr>
              <a:spLocks/>
            </p:cNvSpPr>
            <p:nvPr/>
          </p:nvSpPr>
          <p:spPr bwMode="auto">
            <a:xfrm>
              <a:off x="7710659" y="1177003"/>
              <a:ext cx="386476" cy="725784"/>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7" name="Freeform 51"/>
            <p:cNvSpPr>
              <a:spLocks noEditPoints="1"/>
            </p:cNvSpPr>
            <p:nvPr/>
          </p:nvSpPr>
          <p:spPr bwMode="auto">
            <a:xfrm>
              <a:off x="8139739" y="1338288"/>
              <a:ext cx="512766" cy="56449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8" name="Freeform 54"/>
            <p:cNvSpPr>
              <a:spLocks noEditPoints="1"/>
            </p:cNvSpPr>
            <p:nvPr/>
          </p:nvSpPr>
          <p:spPr bwMode="auto">
            <a:xfrm>
              <a:off x="5586560" y="1338288"/>
              <a:ext cx="512766" cy="56449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grpSp>
      <p:sp>
        <p:nvSpPr>
          <p:cNvPr id="52" name="TextBox 21"/>
          <p:cNvSpPr txBox="1"/>
          <p:nvPr userDrawn="1"/>
        </p:nvSpPr>
        <p:spPr>
          <a:xfrm>
            <a:off x="-808919" y="4592996"/>
            <a:ext cx="747431" cy="431400"/>
          </a:xfrm>
          <a:prstGeom prst="rect">
            <a:avLst/>
          </a:prstGeom>
          <a:noFill/>
          <a:ln>
            <a:noFill/>
          </a:ln>
        </p:spPr>
        <p:txBody>
          <a:bodyPr wrap="square" lIns="0" tIns="0" rIns="0" bIns="0" rtlCol="0">
            <a:spAutoFit/>
          </a:bodyPr>
          <a:lstStyle/>
          <a:p>
            <a:pPr algn="r">
              <a:spcAft>
                <a:spcPts val="270"/>
              </a:spcAft>
            </a:pPr>
            <a:r>
              <a:rPr lang="en-US" sz="701" baseline="0" noProof="0" dirty="0" smtClean="0">
                <a:ln>
                  <a:noFill/>
                </a:ln>
                <a:solidFill>
                  <a:schemeClr val="bg1">
                    <a:lumMod val="65000"/>
                  </a:schemeClr>
                </a:solidFill>
              </a:rPr>
              <a:t>Grey markers</a:t>
            </a:r>
            <a:r>
              <a:rPr lang="en-US" sz="701" dirty="0" smtClean="0">
                <a:ln>
                  <a:noFill/>
                </a:ln>
                <a:solidFill>
                  <a:schemeClr val="bg1">
                    <a:lumMod val="65000"/>
                  </a:schemeClr>
                </a:solidFill>
              </a:rPr>
              <a:t> indicate position of Deloitte Drawing Guides</a:t>
            </a:r>
            <a:endParaRPr lang="en-US" sz="701" baseline="0" noProof="0" dirty="0" smtClean="0">
              <a:ln>
                <a:noFill/>
              </a:ln>
              <a:solidFill>
                <a:schemeClr val="bg1">
                  <a:lumMod val="65000"/>
                </a:schemeClr>
              </a:solidFill>
            </a:endParaRPr>
          </a:p>
        </p:txBody>
      </p:sp>
      <p:cxnSp>
        <p:nvCxnSpPr>
          <p:cNvPr id="53" name="Straight Arrow Connector 12"/>
          <p:cNvCxnSpPr/>
          <p:nvPr userDrawn="1"/>
        </p:nvCxnSpPr>
        <p:spPr>
          <a:xfrm>
            <a:off x="-381894" y="4462068"/>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4" name="Straight Arrow Connector 12"/>
          <p:cNvCxnSpPr/>
          <p:nvPr userDrawn="1"/>
        </p:nvCxnSpPr>
        <p:spPr>
          <a:xfrm>
            <a:off x="-392411"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5" name="Straight Arrow Connector 12"/>
          <p:cNvCxnSpPr/>
          <p:nvPr userDrawn="1"/>
        </p:nvCxnSpPr>
        <p:spPr>
          <a:xfrm>
            <a:off x="6015633"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6" name="Straight Arrow Connector 12"/>
          <p:cNvCxnSpPr/>
          <p:nvPr userDrawn="1"/>
        </p:nvCxnSpPr>
        <p:spPr>
          <a:xfrm>
            <a:off x="6015633" y="4463033"/>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7" name="Straight Arrow Connector 14"/>
          <p:cNvCxnSpPr/>
          <p:nvPr userDrawn="1"/>
        </p:nvCxnSpPr>
        <p:spPr>
          <a:xfrm>
            <a:off x="5738945"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8" name="Straight Arrow Connector 14"/>
          <p:cNvCxnSpPr/>
          <p:nvPr userDrawn="1"/>
        </p:nvCxnSpPr>
        <p:spPr>
          <a:xfrm>
            <a:off x="226418" y="-29095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9" name="Straight Arrow Connector 14"/>
          <p:cNvCxnSpPr/>
          <p:nvPr userDrawn="1"/>
        </p:nvCxnSpPr>
        <p:spPr>
          <a:xfrm>
            <a:off x="5738945" y="-320178"/>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60" name="Straight Arrow Connector 14"/>
          <p:cNvCxnSpPr/>
          <p:nvPr userDrawn="1"/>
        </p:nvCxnSpPr>
        <p:spPr>
          <a:xfrm>
            <a:off x="226418"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
        <p:nvSpPr>
          <p:cNvPr id="37" name="Picture Placeholder 8"/>
          <p:cNvSpPr>
            <a:spLocks noGrp="1"/>
          </p:cNvSpPr>
          <p:nvPr>
            <p:ph type="pic" sz="quarter" idx="12" hasCustomPrompt="1"/>
          </p:nvPr>
        </p:nvSpPr>
        <p:spPr>
          <a:xfrm>
            <a:off x="4996211" y="322845"/>
            <a:ext cx="742735" cy="339524"/>
          </a:xfrm>
          <a:prstGeom prst="rect">
            <a:avLst/>
          </a:prstGeom>
        </p:spPr>
        <p:txBody>
          <a:bodyPr/>
          <a:lstStyle>
            <a:lvl1pPr>
              <a:defRPr b="1" baseline="0">
                <a:solidFill>
                  <a:schemeClr val="bg1"/>
                </a:solidFill>
                <a:latin typeface="Calibri" panose="020F0502020204030204" pitchFamily="34" charset="0"/>
                <a:cs typeface="Calibri" panose="020F0502020204030204" pitchFamily="34" charset="0"/>
              </a:defRPr>
            </a:lvl1pPr>
          </a:lstStyle>
          <a:p>
            <a:r>
              <a:rPr lang="en-US" noProof="0" dirty="0" smtClean="0"/>
              <a:t>Co-brand logo here</a:t>
            </a:r>
          </a:p>
          <a:p>
            <a:endParaRPr lang="en-US" noProof="0" dirty="0"/>
          </a:p>
        </p:txBody>
      </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816"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首頁_白底文字_CO-BRAND">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062125" y="1054000"/>
            <a:ext cx="1850625" cy="2604000"/>
          </a:xfrm>
          <a:prstGeom prst="ellipse">
            <a:avLst/>
          </a:prstGeom>
          <a:ln w="25400">
            <a:solidFill>
              <a:schemeClr val="accent1"/>
            </a:solidFill>
          </a:ln>
        </p:spPr>
        <p:txBody>
          <a:bodyPr lIns="108000" tIns="108000" rIns="108000" bIns="108000" anchor="ctr" anchorCtr="0">
            <a:normAutofit/>
          </a:bodyPr>
          <a:lstStyle>
            <a:lvl1pPr algn="ctr">
              <a:lnSpc>
                <a:spcPts val="3799"/>
              </a:lnSpc>
              <a:defRPr sz="3201" b="0">
                <a:solidFill>
                  <a:schemeClr val="tx1"/>
                </a:solidFill>
                <a:latin typeface="+mj-lt"/>
                <a:ea typeface="+mj-ea"/>
                <a:cs typeface="Open Sans" panose="020B0606030504020204" pitchFamily="34" charset="0"/>
              </a:defRPr>
            </a:lvl1pPr>
          </a:lstStyle>
          <a:p>
            <a:r>
              <a:rPr lang="zh-TW" altLang="en-US" noProof="0" smtClean="0"/>
              <a:t>按一下以編輯母片標題樣式</a:t>
            </a:r>
            <a:endParaRPr lang="en-US" noProof="0" dirty="0"/>
          </a:p>
        </p:txBody>
      </p:sp>
      <p:sp>
        <p:nvSpPr>
          <p:cNvPr id="3" name="Subtitle 2"/>
          <p:cNvSpPr>
            <a:spLocks noGrp="1"/>
          </p:cNvSpPr>
          <p:nvPr>
            <p:ph type="subTitle" idx="1"/>
          </p:nvPr>
        </p:nvSpPr>
        <p:spPr bwMode="gray">
          <a:xfrm>
            <a:off x="232712" y="4026685"/>
            <a:ext cx="2738900" cy="348333"/>
          </a:xfrm>
          <a:prstGeom prst="rect">
            <a:avLst/>
          </a:prstGeom>
        </p:spPr>
        <p:txBody>
          <a:bodyPr lIns="0" tIns="0" rIns="0" bIns="0" anchor="b" anchorCtr="0">
            <a:noAutofit/>
          </a:bodyPr>
          <a:lstStyle>
            <a:lvl1pPr marL="0" indent="0" algn="l">
              <a:lnSpc>
                <a:spcPct val="100000"/>
              </a:lnSpc>
              <a:spcAft>
                <a:spcPts val="0"/>
              </a:spcAft>
              <a:buNone/>
              <a:defRPr sz="1599">
                <a:solidFill>
                  <a:schemeClr val="tx1"/>
                </a:solidFill>
                <a:latin typeface="+mj-lt"/>
              </a:defRPr>
            </a:lvl1pPr>
            <a:lvl2pPr marL="609589" indent="0" algn="ctr">
              <a:buNone/>
              <a:defRPr sz="2668"/>
            </a:lvl2pPr>
            <a:lvl3pPr marL="1219179" indent="0" algn="ctr">
              <a:buNone/>
              <a:defRPr sz="2400"/>
            </a:lvl3pPr>
            <a:lvl4pPr marL="1828768" indent="0" algn="ctr">
              <a:buNone/>
              <a:defRPr sz="2132"/>
            </a:lvl4pPr>
            <a:lvl5pPr marL="2438358" indent="0" algn="ctr">
              <a:buNone/>
              <a:defRPr sz="2132"/>
            </a:lvl5pPr>
            <a:lvl6pPr marL="3047945" indent="0" algn="ctr">
              <a:buNone/>
              <a:defRPr sz="2132"/>
            </a:lvl6pPr>
            <a:lvl7pPr marL="3657535" indent="0" algn="ctr">
              <a:buNone/>
              <a:defRPr sz="2132"/>
            </a:lvl7pPr>
            <a:lvl8pPr marL="4267122" indent="0" algn="ctr">
              <a:buNone/>
              <a:defRPr sz="2132"/>
            </a:lvl8pPr>
            <a:lvl9pPr marL="4876714" indent="0" algn="ctr">
              <a:buNone/>
              <a:defRPr sz="2132"/>
            </a:lvl9pPr>
          </a:lstStyle>
          <a:p>
            <a:r>
              <a:rPr lang="zh-TW" altLang="en-US" noProof="0" smtClean="0"/>
              <a:t>按一下以編輯母片副標題樣式</a:t>
            </a:r>
            <a:endParaRPr lang="en-US" noProof="0" dirty="0"/>
          </a:p>
        </p:txBody>
      </p:sp>
      <p:sp>
        <p:nvSpPr>
          <p:cNvPr id="5" name="Text Placeholder 4"/>
          <p:cNvSpPr>
            <a:spLocks noGrp="1"/>
          </p:cNvSpPr>
          <p:nvPr>
            <p:ph type="body" sz="quarter" idx="10"/>
          </p:nvPr>
        </p:nvSpPr>
        <p:spPr>
          <a:xfrm>
            <a:off x="232711" y="4383197"/>
            <a:ext cx="2738900" cy="205600"/>
          </a:xfrm>
          <a:prstGeom prst="rect">
            <a:avLst/>
          </a:prstGeom>
        </p:spPr>
        <p:txBody>
          <a:bodyPr>
            <a:noAutofit/>
          </a:bodyPr>
          <a:lstStyle>
            <a:lvl1pPr>
              <a:spcAft>
                <a:spcPts val="0"/>
              </a:spcAft>
              <a:defRPr sz="1052">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TW" altLang="en-US" noProof="0" smtClean="0"/>
              <a:t>編輯母片文字樣式</a:t>
            </a:r>
          </a:p>
        </p:txBody>
      </p:sp>
      <p:grpSp>
        <p:nvGrpSpPr>
          <p:cNvPr id="19" name="群組 18"/>
          <p:cNvGrpSpPr/>
          <p:nvPr userDrawn="1"/>
        </p:nvGrpSpPr>
        <p:grpSpPr>
          <a:xfrm>
            <a:off x="232713" y="313032"/>
            <a:ext cx="795506" cy="485893"/>
            <a:chOff x="4927725" y="1160266"/>
            <a:chExt cx="3981923" cy="1728492"/>
          </a:xfrm>
        </p:grpSpPr>
        <p:sp>
          <p:nvSpPr>
            <p:cNvPr id="20" name="Freeform 6"/>
            <p:cNvSpPr>
              <a:spLocks noEditPoints="1"/>
            </p:cNvSpPr>
            <p:nvPr/>
          </p:nvSpPr>
          <p:spPr bwMode="auto">
            <a:xfrm>
              <a:off x="4930768" y="2156888"/>
              <a:ext cx="704482" cy="725784"/>
            </a:xfrm>
            <a:custGeom>
              <a:avLst/>
              <a:gdLst>
                <a:gd name="T0" fmla="*/ 832 w 926"/>
                <a:gd name="T1" fmla="*/ 948 h 954"/>
                <a:gd name="T2" fmla="*/ 902 w 926"/>
                <a:gd name="T3" fmla="*/ 888 h 954"/>
                <a:gd name="T4" fmla="*/ 926 w 926"/>
                <a:gd name="T5" fmla="*/ 292 h 954"/>
                <a:gd name="T6" fmla="*/ 894 w 926"/>
                <a:gd name="T7" fmla="*/ 214 h 954"/>
                <a:gd name="T8" fmla="*/ 720 w 926"/>
                <a:gd name="T9" fmla="*/ 52 h 954"/>
                <a:gd name="T10" fmla="*/ 682 w 926"/>
                <a:gd name="T11" fmla="*/ 12 h 954"/>
                <a:gd name="T12" fmla="*/ 624 w 926"/>
                <a:gd name="T13" fmla="*/ 48 h 954"/>
                <a:gd name="T14" fmla="*/ 534 w 926"/>
                <a:gd name="T15" fmla="*/ 208 h 954"/>
                <a:gd name="T16" fmla="*/ 508 w 926"/>
                <a:gd name="T17" fmla="*/ 268 h 954"/>
                <a:gd name="T18" fmla="*/ 618 w 926"/>
                <a:gd name="T19" fmla="*/ 306 h 954"/>
                <a:gd name="T20" fmla="*/ 596 w 926"/>
                <a:gd name="T21" fmla="*/ 558 h 954"/>
                <a:gd name="T22" fmla="*/ 568 w 926"/>
                <a:gd name="T23" fmla="*/ 676 h 954"/>
                <a:gd name="T24" fmla="*/ 526 w 926"/>
                <a:gd name="T25" fmla="*/ 790 h 954"/>
                <a:gd name="T26" fmla="*/ 502 w 926"/>
                <a:gd name="T27" fmla="*/ 840 h 954"/>
                <a:gd name="T28" fmla="*/ 306 w 926"/>
                <a:gd name="T29" fmla="*/ 836 h 954"/>
                <a:gd name="T30" fmla="*/ 480 w 926"/>
                <a:gd name="T31" fmla="*/ 774 h 954"/>
                <a:gd name="T32" fmla="*/ 476 w 926"/>
                <a:gd name="T33" fmla="*/ 716 h 954"/>
                <a:gd name="T34" fmla="*/ 498 w 926"/>
                <a:gd name="T35" fmla="*/ 658 h 954"/>
                <a:gd name="T36" fmla="*/ 526 w 926"/>
                <a:gd name="T37" fmla="*/ 618 h 954"/>
                <a:gd name="T38" fmla="*/ 488 w 926"/>
                <a:gd name="T39" fmla="*/ 580 h 954"/>
                <a:gd name="T40" fmla="*/ 498 w 926"/>
                <a:gd name="T41" fmla="*/ 518 h 954"/>
                <a:gd name="T42" fmla="*/ 508 w 926"/>
                <a:gd name="T43" fmla="*/ 338 h 954"/>
                <a:gd name="T44" fmla="*/ 306 w 926"/>
                <a:gd name="T45" fmla="*/ 260 h 954"/>
                <a:gd name="T46" fmla="*/ 452 w 926"/>
                <a:gd name="T47" fmla="*/ 234 h 954"/>
                <a:gd name="T48" fmla="*/ 518 w 926"/>
                <a:gd name="T49" fmla="*/ 134 h 954"/>
                <a:gd name="T50" fmla="*/ 528 w 926"/>
                <a:gd name="T51" fmla="*/ 84 h 954"/>
                <a:gd name="T52" fmla="*/ 456 w 926"/>
                <a:gd name="T53" fmla="*/ 64 h 954"/>
                <a:gd name="T54" fmla="*/ 422 w 926"/>
                <a:gd name="T55" fmla="*/ 6 h 954"/>
                <a:gd name="T56" fmla="*/ 368 w 926"/>
                <a:gd name="T57" fmla="*/ 18 h 954"/>
                <a:gd name="T58" fmla="*/ 168 w 926"/>
                <a:gd name="T59" fmla="*/ 28 h 954"/>
                <a:gd name="T60" fmla="*/ 106 w 926"/>
                <a:gd name="T61" fmla="*/ 2 h 954"/>
                <a:gd name="T62" fmla="*/ 38 w 926"/>
                <a:gd name="T63" fmla="*/ 64 h 954"/>
                <a:gd name="T64" fmla="*/ 0 w 926"/>
                <a:gd name="T65" fmla="*/ 94 h 954"/>
                <a:gd name="T66" fmla="*/ 14 w 926"/>
                <a:gd name="T67" fmla="*/ 136 h 954"/>
                <a:gd name="T68" fmla="*/ 82 w 926"/>
                <a:gd name="T69" fmla="*/ 240 h 954"/>
                <a:gd name="T70" fmla="*/ 72 w 926"/>
                <a:gd name="T71" fmla="*/ 310 h 954"/>
                <a:gd name="T72" fmla="*/ 18 w 926"/>
                <a:gd name="T73" fmla="*/ 350 h 954"/>
                <a:gd name="T74" fmla="*/ 38 w 926"/>
                <a:gd name="T75" fmla="*/ 524 h 954"/>
                <a:gd name="T76" fmla="*/ 26 w 926"/>
                <a:gd name="T77" fmla="*/ 582 h 954"/>
                <a:gd name="T78" fmla="*/ 4 w 926"/>
                <a:gd name="T79" fmla="*/ 618 h 954"/>
                <a:gd name="T80" fmla="*/ 34 w 926"/>
                <a:gd name="T81" fmla="*/ 658 h 954"/>
                <a:gd name="T82" fmla="*/ 46 w 926"/>
                <a:gd name="T83" fmla="*/ 716 h 954"/>
                <a:gd name="T84" fmla="*/ 40 w 926"/>
                <a:gd name="T85" fmla="*/ 766 h 954"/>
                <a:gd name="T86" fmla="*/ 212 w 926"/>
                <a:gd name="T87" fmla="*/ 786 h 954"/>
                <a:gd name="T88" fmla="*/ 18 w 926"/>
                <a:gd name="T89" fmla="*/ 858 h 954"/>
                <a:gd name="T90" fmla="*/ 0 w 926"/>
                <a:gd name="T91" fmla="*/ 902 h 954"/>
                <a:gd name="T92" fmla="*/ 42 w 926"/>
                <a:gd name="T93" fmla="*/ 932 h 954"/>
                <a:gd name="T94" fmla="*/ 466 w 926"/>
                <a:gd name="T95" fmla="*/ 920 h 954"/>
                <a:gd name="T96" fmla="*/ 510 w 926"/>
                <a:gd name="T97" fmla="*/ 954 h 954"/>
                <a:gd name="T98" fmla="*/ 608 w 926"/>
                <a:gd name="T99" fmla="*/ 850 h 954"/>
                <a:gd name="T100" fmla="*/ 696 w 926"/>
                <a:gd name="T101" fmla="*/ 498 h 954"/>
                <a:gd name="T102" fmla="*/ 826 w 926"/>
                <a:gd name="T103" fmla="*/ 310 h 954"/>
                <a:gd name="T104" fmla="*/ 828 w 926"/>
                <a:gd name="T105" fmla="*/ 816 h 954"/>
                <a:gd name="T106" fmla="*/ 776 w 926"/>
                <a:gd name="T107" fmla="*/ 852 h 954"/>
                <a:gd name="T108" fmla="*/ 686 w 926"/>
                <a:gd name="T109" fmla="*/ 836 h 954"/>
                <a:gd name="T110" fmla="*/ 644 w 926"/>
                <a:gd name="T111" fmla="*/ 874 h 954"/>
                <a:gd name="T112" fmla="*/ 666 w 926"/>
                <a:gd name="T113" fmla="*/ 926 h 954"/>
                <a:gd name="T114" fmla="*/ 118 w 926"/>
                <a:gd name="T115" fmla="*/ 456 h 954"/>
                <a:gd name="T116" fmla="*/ 132 w 926"/>
                <a:gd name="T117" fmla="*/ 380 h 954"/>
                <a:gd name="T118" fmla="*/ 416 w 926"/>
                <a:gd name="T119" fmla="*/ 400 h 954"/>
                <a:gd name="T120" fmla="*/ 306 w 926"/>
                <a:gd name="T121" fmla="*/ 380 h 954"/>
                <a:gd name="T122" fmla="*/ 170 w 926"/>
                <a:gd name="T123" fmla="*/ 14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954">
                  <a:moveTo>
                    <a:pt x="702" y="942"/>
                  </a:moveTo>
                  <a:lnTo>
                    <a:pt x="702" y="942"/>
                  </a:lnTo>
                  <a:lnTo>
                    <a:pt x="742" y="950"/>
                  </a:lnTo>
                  <a:lnTo>
                    <a:pt x="784" y="954"/>
                  </a:lnTo>
                  <a:lnTo>
                    <a:pt x="784" y="954"/>
                  </a:lnTo>
                  <a:lnTo>
                    <a:pt x="802" y="952"/>
                  </a:lnTo>
                  <a:lnTo>
                    <a:pt x="818" y="950"/>
                  </a:lnTo>
                  <a:lnTo>
                    <a:pt x="832" y="948"/>
                  </a:lnTo>
                  <a:lnTo>
                    <a:pt x="846" y="942"/>
                  </a:lnTo>
                  <a:lnTo>
                    <a:pt x="858" y="936"/>
                  </a:lnTo>
                  <a:lnTo>
                    <a:pt x="870" y="930"/>
                  </a:lnTo>
                  <a:lnTo>
                    <a:pt x="880" y="920"/>
                  </a:lnTo>
                  <a:lnTo>
                    <a:pt x="888" y="910"/>
                  </a:lnTo>
                  <a:lnTo>
                    <a:pt x="888" y="910"/>
                  </a:lnTo>
                  <a:lnTo>
                    <a:pt x="896" y="900"/>
                  </a:lnTo>
                  <a:lnTo>
                    <a:pt x="902" y="888"/>
                  </a:lnTo>
                  <a:lnTo>
                    <a:pt x="906" y="874"/>
                  </a:lnTo>
                  <a:lnTo>
                    <a:pt x="910" y="858"/>
                  </a:lnTo>
                  <a:lnTo>
                    <a:pt x="916" y="822"/>
                  </a:lnTo>
                  <a:lnTo>
                    <a:pt x="918" y="778"/>
                  </a:lnTo>
                  <a:lnTo>
                    <a:pt x="918" y="778"/>
                  </a:lnTo>
                  <a:lnTo>
                    <a:pt x="922" y="688"/>
                  </a:lnTo>
                  <a:lnTo>
                    <a:pt x="924" y="576"/>
                  </a:lnTo>
                  <a:lnTo>
                    <a:pt x="926" y="292"/>
                  </a:lnTo>
                  <a:lnTo>
                    <a:pt x="926" y="292"/>
                  </a:lnTo>
                  <a:lnTo>
                    <a:pt x="924" y="266"/>
                  </a:lnTo>
                  <a:lnTo>
                    <a:pt x="920" y="246"/>
                  </a:lnTo>
                  <a:lnTo>
                    <a:pt x="914" y="230"/>
                  </a:lnTo>
                  <a:lnTo>
                    <a:pt x="910" y="224"/>
                  </a:lnTo>
                  <a:lnTo>
                    <a:pt x="904" y="220"/>
                  </a:lnTo>
                  <a:lnTo>
                    <a:pt x="904" y="220"/>
                  </a:lnTo>
                  <a:lnTo>
                    <a:pt x="894" y="214"/>
                  </a:lnTo>
                  <a:lnTo>
                    <a:pt x="882" y="210"/>
                  </a:lnTo>
                  <a:lnTo>
                    <a:pt x="866" y="206"/>
                  </a:lnTo>
                  <a:lnTo>
                    <a:pt x="848" y="206"/>
                  </a:lnTo>
                  <a:lnTo>
                    <a:pt x="718" y="206"/>
                  </a:lnTo>
                  <a:lnTo>
                    <a:pt x="718" y="202"/>
                  </a:lnTo>
                  <a:lnTo>
                    <a:pt x="718" y="202"/>
                  </a:lnTo>
                  <a:lnTo>
                    <a:pt x="720" y="52"/>
                  </a:lnTo>
                  <a:lnTo>
                    <a:pt x="720" y="52"/>
                  </a:lnTo>
                  <a:lnTo>
                    <a:pt x="718" y="44"/>
                  </a:lnTo>
                  <a:lnTo>
                    <a:pt x="716" y="34"/>
                  </a:lnTo>
                  <a:lnTo>
                    <a:pt x="712" y="28"/>
                  </a:lnTo>
                  <a:lnTo>
                    <a:pt x="706" y="22"/>
                  </a:lnTo>
                  <a:lnTo>
                    <a:pt x="706" y="22"/>
                  </a:lnTo>
                  <a:lnTo>
                    <a:pt x="700" y="18"/>
                  </a:lnTo>
                  <a:lnTo>
                    <a:pt x="692" y="14"/>
                  </a:lnTo>
                  <a:lnTo>
                    <a:pt x="682" y="12"/>
                  </a:lnTo>
                  <a:lnTo>
                    <a:pt x="668" y="10"/>
                  </a:lnTo>
                  <a:lnTo>
                    <a:pt x="668" y="10"/>
                  </a:lnTo>
                  <a:lnTo>
                    <a:pt x="650" y="16"/>
                  </a:lnTo>
                  <a:lnTo>
                    <a:pt x="634" y="22"/>
                  </a:lnTo>
                  <a:lnTo>
                    <a:pt x="634" y="22"/>
                  </a:lnTo>
                  <a:lnTo>
                    <a:pt x="630" y="30"/>
                  </a:lnTo>
                  <a:lnTo>
                    <a:pt x="626" y="38"/>
                  </a:lnTo>
                  <a:lnTo>
                    <a:pt x="624" y="48"/>
                  </a:lnTo>
                  <a:lnTo>
                    <a:pt x="622" y="56"/>
                  </a:lnTo>
                  <a:lnTo>
                    <a:pt x="622" y="56"/>
                  </a:lnTo>
                  <a:lnTo>
                    <a:pt x="622" y="202"/>
                  </a:lnTo>
                  <a:lnTo>
                    <a:pt x="622" y="206"/>
                  </a:lnTo>
                  <a:lnTo>
                    <a:pt x="554" y="206"/>
                  </a:lnTo>
                  <a:lnTo>
                    <a:pt x="554" y="206"/>
                  </a:lnTo>
                  <a:lnTo>
                    <a:pt x="544" y="206"/>
                  </a:lnTo>
                  <a:lnTo>
                    <a:pt x="534" y="208"/>
                  </a:lnTo>
                  <a:lnTo>
                    <a:pt x="526" y="212"/>
                  </a:lnTo>
                  <a:lnTo>
                    <a:pt x="520" y="218"/>
                  </a:lnTo>
                  <a:lnTo>
                    <a:pt x="514" y="226"/>
                  </a:lnTo>
                  <a:lnTo>
                    <a:pt x="512" y="234"/>
                  </a:lnTo>
                  <a:lnTo>
                    <a:pt x="508" y="244"/>
                  </a:lnTo>
                  <a:lnTo>
                    <a:pt x="508" y="256"/>
                  </a:lnTo>
                  <a:lnTo>
                    <a:pt x="508" y="256"/>
                  </a:lnTo>
                  <a:lnTo>
                    <a:pt x="508" y="268"/>
                  </a:lnTo>
                  <a:lnTo>
                    <a:pt x="512" y="278"/>
                  </a:lnTo>
                  <a:lnTo>
                    <a:pt x="514" y="286"/>
                  </a:lnTo>
                  <a:lnTo>
                    <a:pt x="520" y="292"/>
                  </a:lnTo>
                  <a:lnTo>
                    <a:pt x="526" y="298"/>
                  </a:lnTo>
                  <a:lnTo>
                    <a:pt x="534" y="302"/>
                  </a:lnTo>
                  <a:lnTo>
                    <a:pt x="544" y="304"/>
                  </a:lnTo>
                  <a:lnTo>
                    <a:pt x="554" y="306"/>
                  </a:lnTo>
                  <a:lnTo>
                    <a:pt x="618" y="306"/>
                  </a:lnTo>
                  <a:lnTo>
                    <a:pt x="618" y="308"/>
                  </a:lnTo>
                  <a:lnTo>
                    <a:pt x="618" y="308"/>
                  </a:lnTo>
                  <a:lnTo>
                    <a:pt x="614" y="376"/>
                  </a:lnTo>
                  <a:lnTo>
                    <a:pt x="610" y="434"/>
                  </a:lnTo>
                  <a:lnTo>
                    <a:pt x="606" y="484"/>
                  </a:lnTo>
                  <a:lnTo>
                    <a:pt x="600" y="526"/>
                  </a:lnTo>
                  <a:lnTo>
                    <a:pt x="600" y="526"/>
                  </a:lnTo>
                  <a:lnTo>
                    <a:pt x="596" y="558"/>
                  </a:lnTo>
                  <a:lnTo>
                    <a:pt x="596" y="558"/>
                  </a:lnTo>
                  <a:lnTo>
                    <a:pt x="590" y="588"/>
                  </a:lnTo>
                  <a:lnTo>
                    <a:pt x="590" y="588"/>
                  </a:lnTo>
                  <a:lnTo>
                    <a:pt x="584" y="618"/>
                  </a:lnTo>
                  <a:lnTo>
                    <a:pt x="584" y="618"/>
                  </a:lnTo>
                  <a:lnTo>
                    <a:pt x="576" y="648"/>
                  </a:lnTo>
                  <a:lnTo>
                    <a:pt x="576" y="648"/>
                  </a:lnTo>
                  <a:lnTo>
                    <a:pt x="568" y="676"/>
                  </a:lnTo>
                  <a:lnTo>
                    <a:pt x="568" y="676"/>
                  </a:lnTo>
                  <a:lnTo>
                    <a:pt x="558" y="706"/>
                  </a:lnTo>
                  <a:lnTo>
                    <a:pt x="558" y="706"/>
                  </a:lnTo>
                  <a:lnTo>
                    <a:pt x="548" y="734"/>
                  </a:lnTo>
                  <a:lnTo>
                    <a:pt x="548" y="734"/>
                  </a:lnTo>
                  <a:lnTo>
                    <a:pt x="538" y="762"/>
                  </a:lnTo>
                  <a:lnTo>
                    <a:pt x="538" y="762"/>
                  </a:lnTo>
                  <a:lnTo>
                    <a:pt x="526" y="790"/>
                  </a:lnTo>
                  <a:lnTo>
                    <a:pt x="526" y="790"/>
                  </a:lnTo>
                  <a:lnTo>
                    <a:pt x="514" y="818"/>
                  </a:lnTo>
                  <a:lnTo>
                    <a:pt x="514" y="818"/>
                  </a:lnTo>
                  <a:lnTo>
                    <a:pt x="508" y="828"/>
                  </a:lnTo>
                  <a:lnTo>
                    <a:pt x="508" y="828"/>
                  </a:lnTo>
                  <a:lnTo>
                    <a:pt x="506" y="836"/>
                  </a:lnTo>
                  <a:lnTo>
                    <a:pt x="506" y="836"/>
                  </a:lnTo>
                  <a:lnTo>
                    <a:pt x="502" y="840"/>
                  </a:lnTo>
                  <a:lnTo>
                    <a:pt x="496" y="838"/>
                  </a:lnTo>
                  <a:lnTo>
                    <a:pt x="496" y="838"/>
                  </a:lnTo>
                  <a:lnTo>
                    <a:pt x="492" y="834"/>
                  </a:lnTo>
                  <a:lnTo>
                    <a:pt x="488" y="832"/>
                  </a:lnTo>
                  <a:lnTo>
                    <a:pt x="474" y="830"/>
                  </a:lnTo>
                  <a:lnTo>
                    <a:pt x="474" y="830"/>
                  </a:lnTo>
                  <a:lnTo>
                    <a:pt x="310" y="836"/>
                  </a:lnTo>
                  <a:lnTo>
                    <a:pt x="306" y="836"/>
                  </a:lnTo>
                  <a:lnTo>
                    <a:pt x="306" y="786"/>
                  </a:lnTo>
                  <a:lnTo>
                    <a:pt x="452" y="786"/>
                  </a:lnTo>
                  <a:lnTo>
                    <a:pt x="452" y="786"/>
                  </a:lnTo>
                  <a:lnTo>
                    <a:pt x="460" y="784"/>
                  </a:lnTo>
                  <a:lnTo>
                    <a:pt x="468" y="782"/>
                  </a:lnTo>
                  <a:lnTo>
                    <a:pt x="474" y="778"/>
                  </a:lnTo>
                  <a:lnTo>
                    <a:pt x="480" y="774"/>
                  </a:lnTo>
                  <a:lnTo>
                    <a:pt x="480" y="774"/>
                  </a:lnTo>
                  <a:lnTo>
                    <a:pt x="482" y="764"/>
                  </a:lnTo>
                  <a:lnTo>
                    <a:pt x="484" y="748"/>
                  </a:lnTo>
                  <a:lnTo>
                    <a:pt x="484" y="748"/>
                  </a:lnTo>
                  <a:lnTo>
                    <a:pt x="484" y="734"/>
                  </a:lnTo>
                  <a:lnTo>
                    <a:pt x="482" y="726"/>
                  </a:lnTo>
                  <a:lnTo>
                    <a:pt x="478" y="720"/>
                  </a:lnTo>
                  <a:lnTo>
                    <a:pt x="476" y="716"/>
                  </a:lnTo>
                  <a:lnTo>
                    <a:pt x="476" y="716"/>
                  </a:lnTo>
                  <a:lnTo>
                    <a:pt x="472" y="712"/>
                  </a:lnTo>
                  <a:lnTo>
                    <a:pt x="466" y="710"/>
                  </a:lnTo>
                  <a:lnTo>
                    <a:pt x="452" y="708"/>
                  </a:lnTo>
                  <a:lnTo>
                    <a:pt x="306" y="708"/>
                  </a:lnTo>
                  <a:lnTo>
                    <a:pt x="306" y="660"/>
                  </a:lnTo>
                  <a:lnTo>
                    <a:pt x="488" y="660"/>
                  </a:lnTo>
                  <a:lnTo>
                    <a:pt x="488" y="660"/>
                  </a:lnTo>
                  <a:lnTo>
                    <a:pt x="498" y="658"/>
                  </a:lnTo>
                  <a:lnTo>
                    <a:pt x="506" y="656"/>
                  </a:lnTo>
                  <a:lnTo>
                    <a:pt x="514" y="652"/>
                  </a:lnTo>
                  <a:lnTo>
                    <a:pt x="520" y="648"/>
                  </a:lnTo>
                  <a:lnTo>
                    <a:pt x="520" y="648"/>
                  </a:lnTo>
                  <a:lnTo>
                    <a:pt x="524" y="638"/>
                  </a:lnTo>
                  <a:lnTo>
                    <a:pt x="524" y="630"/>
                  </a:lnTo>
                  <a:lnTo>
                    <a:pt x="526" y="618"/>
                  </a:lnTo>
                  <a:lnTo>
                    <a:pt x="526" y="618"/>
                  </a:lnTo>
                  <a:lnTo>
                    <a:pt x="524" y="606"/>
                  </a:lnTo>
                  <a:lnTo>
                    <a:pt x="522" y="598"/>
                  </a:lnTo>
                  <a:lnTo>
                    <a:pt x="520" y="592"/>
                  </a:lnTo>
                  <a:lnTo>
                    <a:pt x="516" y="588"/>
                  </a:lnTo>
                  <a:lnTo>
                    <a:pt x="516" y="588"/>
                  </a:lnTo>
                  <a:lnTo>
                    <a:pt x="512" y="584"/>
                  </a:lnTo>
                  <a:lnTo>
                    <a:pt x="504" y="582"/>
                  </a:lnTo>
                  <a:lnTo>
                    <a:pt x="488" y="580"/>
                  </a:lnTo>
                  <a:lnTo>
                    <a:pt x="306" y="580"/>
                  </a:lnTo>
                  <a:lnTo>
                    <a:pt x="306" y="532"/>
                  </a:lnTo>
                  <a:lnTo>
                    <a:pt x="458" y="532"/>
                  </a:lnTo>
                  <a:lnTo>
                    <a:pt x="458" y="532"/>
                  </a:lnTo>
                  <a:lnTo>
                    <a:pt x="472" y="532"/>
                  </a:lnTo>
                  <a:lnTo>
                    <a:pt x="482" y="528"/>
                  </a:lnTo>
                  <a:lnTo>
                    <a:pt x="492" y="524"/>
                  </a:lnTo>
                  <a:lnTo>
                    <a:pt x="498" y="518"/>
                  </a:lnTo>
                  <a:lnTo>
                    <a:pt x="504" y="512"/>
                  </a:lnTo>
                  <a:lnTo>
                    <a:pt x="508" y="502"/>
                  </a:lnTo>
                  <a:lnTo>
                    <a:pt x="512" y="492"/>
                  </a:lnTo>
                  <a:lnTo>
                    <a:pt x="512" y="478"/>
                  </a:lnTo>
                  <a:lnTo>
                    <a:pt x="512" y="362"/>
                  </a:lnTo>
                  <a:lnTo>
                    <a:pt x="512" y="362"/>
                  </a:lnTo>
                  <a:lnTo>
                    <a:pt x="512" y="350"/>
                  </a:lnTo>
                  <a:lnTo>
                    <a:pt x="508" y="338"/>
                  </a:lnTo>
                  <a:lnTo>
                    <a:pt x="504" y="330"/>
                  </a:lnTo>
                  <a:lnTo>
                    <a:pt x="498" y="322"/>
                  </a:lnTo>
                  <a:lnTo>
                    <a:pt x="492" y="316"/>
                  </a:lnTo>
                  <a:lnTo>
                    <a:pt x="482" y="312"/>
                  </a:lnTo>
                  <a:lnTo>
                    <a:pt x="472" y="310"/>
                  </a:lnTo>
                  <a:lnTo>
                    <a:pt x="458" y="310"/>
                  </a:lnTo>
                  <a:lnTo>
                    <a:pt x="306" y="310"/>
                  </a:lnTo>
                  <a:lnTo>
                    <a:pt x="306" y="260"/>
                  </a:lnTo>
                  <a:lnTo>
                    <a:pt x="392" y="260"/>
                  </a:lnTo>
                  <a:lnTo>
                    <a:pt x="392" y="260"/>
                  </a:lnTo>
                  <a:lnTo>
                    <a:pt x="408" y="260"/>
                  </a:lnTo>
                  <a:lnTo>
                    <a:pt x="420" y="258"/>
                  </a:lnTo>
                  <a:lnTo>
                    <a:pt x="432" y="254"/>
                  </a:lnTo>
                  <a:lnTo>
                    <a:pt x="440" y="248"/>
                  </a:lnTo>
                  <a:lnTo>
                    <a:pt x="448" y="242"/>
                  </a:lnTo>
                  <a:lnTo>
                    <a:pt x="452" y="234"/>
                  </a:lnTo>
                  <a:lnTo>
                    <a:pt x="456" y="226"/>
                  </a:lnTo>
                  <a:lnTo>
                    <a:pt x="456" y="214"/>
                  </a:lnTo>
                  <a:lnTo>
                    <a:pt x="456" y="140"/>
                  </a:lnTo>
                  <a:lnTo>
                    <a:pt x="492" y="140"/>
                  </a:lnTo>
                  <a:lnTo>
                    <a:pt x="492" y="140"/>
                  </a:lnTo>
                  <a:lnTo>
                    <a:pt x="502" y="140"/>
                  </a:lnTo>
                  <a:lnTo>
                    <a:pt x="510" y="138"/>
                  </a:lnTo>
                  <a:lnTo>
                    <a:pt x="518" y="134"/>
                  </a:lnTo>
                  <a:lnTo>
                    <a:pt x="524" y="128"/>
                  </a:lnTo>
                  <a:lnTo>
                    <a:pt x="524" y="128"/>
                  </a:lnTo>
                  <a:lnTo>
                    <a:pt x="526" y="124"/>
                  </a:lnTo>
                  <a:lnTo>
                    <a:pt x="528" y="118"/>
                  </a:lnTo>
                  <a:lnTo>
                    <a:pt x="530" y="102"/>
                  </a:lnTo>
                  <a:lnTo>
                    <a:pt x="530" y="102"/>
                  </a:lnTo>
                  <a:lnTo>
                    <a:pt x="530" y="92"/>
                  </a:lnTo>
                  <a:lnTo>
                    <a:pt x="528" y="84"/>
                  </a:lnTo>
                  <a:lnTo>
                    <a:pt x="526" y="78"/>
                  </a:lnTo>
                  <a:lnTo>
                    <a:pt x="522" y="74"/>
                  </a:lnTo>
                  <a:lnTo>
                    <a:pt x="522" y="74"/>
                  </a:lnTo>
                  <a:lnTo>
                    <a:pt x="516" y="70"/>
                  </a:lnTo>
                  <a:lnTo>
                    <a:pt x="510" y="68"/>
                  </a:lnTo>
                  <a:lnTo>
                    <a:pt x="502" y="66"/>
                  </a:lnTo>
                  <a:lnTo>
                    <a:pt x="492" y="64"/>
                  </a:lnTo>
                  <a:lnTo>
                    <a:pt x="456" y="64"/>
                  </a:lnTo>
                  <a:lnTo>
                    <a:pt x="456" y="42"/>
                  </a:lnTo>
                  <a:lnTo>
                    <a:pt x="456" y="42"/>
                  </a:lnTo>
                  <a:lnTo>
                    <a:pt x="456" y="34"/>
                  </a:lnTo>
                  <a:lnTo>
                    <a:pt x="452" y="26"/>
                  </a:lnTo>
                  <a:lnTo>
                    <a:pt x="446" y="18"/>
                  </a:lnTo>
                  <a:lnTo>
                    <a:pt x="440" y="10"/>
                  </a:lnTo>
                  <a:lnTo>
                    <a:pt x="440" y="10"/>
                  </a:lnTo>
                  <a:lnTo>
                    <a:pt x="422" y="6"/>
                  </a:lnTo>
                  <a:lnTo>
                    <a:pt x="406" y="4"/>
                  </a:lnTo>
                  <a:lnTo>
                    <a:pt x="406" y="4"/>
                  </a:lnTo>
                  <a:lnTo>
                    <a:pt x="398" y="4"/>
                  </a:lnTo>
                  <a:lnTo>
                    <a:pt x="390" y="6"/>
                  </a:lnTo>
                  <a:lnTo>
                    <a:pt x="382" y="8"/>
                  </a:lnTo>
                  <a:lnTo>
                    <a:pt x="374" y="12"/>
                  </a:lnTo>
                  <a:lnTo>
                    <a:pt x="374" y="12"/>
                  </a:lnTo>
                  <a:lnTo>
                    <a:pt x="368" y="18"/>
                  </a:lnTo>
                  <a:lnTo>
                    <a:pt x="364" y="26"/>
                  </a:lnTo>
                  <a:lnTo>
                    <a:pt x="360" y="34"/>
                  </a:lnTo>
                  <a:lnTo>
                    <a:pt x="360" y="42"/>
                  </a:lnTo>
                  <a:lnTo>
                    <a:pt x="360" y="64"/>
                  </a:lnTo>
                  <a:lnTo>
                    <a:pt x="170" y="64"/>
                  </a:lnTo>
                  <a:lnTo>
                    <a:pt x="170" y="38"/>
                  </a:lnTo>
                  <a:lnTo>
                    <a:pt x="170" y="38"/>
                  </a:lnTo>
                  <a:lnTo>
                    <a:pt x="168" y="28"/>
                  </a:lnTo>
                  <a:lnTo>
                    <a:pt x="166" y="20"/>
                  </a:lnTo>
                  <a:lnTo>
                    <a:pt x="162" y="14"/>
                  </a:lnTo>
                  <a:lnTo>
                    <a:pt x="156" y="6"/>
                  </a:lnTo>
                  <a:lnTo>
                    <a:pt x="156" y="6"/>
                  </a:lnTo>
                  <a:lnTo>
                    <a:pt x="138" y="2"/>
                  </a:lnTo>
                  <a:lnTo>
                    <a:pt x="120" y="0"/>
                  </a:lnTo>
                  <a:lnTo>
                    <a:pt x="120" y="0"/>
                  </a:lnTo>
                  <a:lnTo>
                    <a:pt x="106" y="2"/>
                  </a:lnTo>
                  <a:lnTo>
                    <a:pt x="90" y="6"/>
                  </a:lnTo>
                  <a:lnTo>
                    <a:pt x="90" y="6"/>
                  </a:lnTo>
                  <a:lnTo>
                    <a:pt x="82" y="14"/>
                  </a:lnTo>
                  <a:lnTo>
                    <a:pt x="78" y="20"/>
                  </a:lnTo>
                  <a:lnTo>
                    <a:pt x="76" y="28"/>
                  </a:lnTo>
                  <a:lnTo>
                    <a:pt x="74" y="38"/>
                  </a:lnTo>
                  <a:lnTo>
                    <a:pt x="74" y="64"/>
                  </a:lnTo>
                  <a:lnTo>
                    <a:pt x="38" y="64"/>
                  </a:lnTo>
                  <a:lnTo>
                    <a:pt x="38" y="64"/>
                  </a:lnTo>
                  <a:lnTo>
                    <a:pt x="20" y="68"/>
                  </a:lnTo>
                  <a:lnTo>
                    <a:pt x="14" y="70"/>
                  </a:lnTo>
                  <a:lnTo>
                    <a:pt x="8" y="74"/>
                  </a:lnTo>
                  <a:lnTo>
                    <a:pt x="8" y="74"/>
                  </a:lnTo>
                  <a:lnTo>
                    <a:pt x="4" y="80"/>
                  </a:lnTo>
                  <a:lnTo>
                    <a:pt x="2" y="86"/>
                  </a:lnTo>
                  <a:lnTo>
                    <a:pt x="0" y="94"/>
                  </a:lnTo>
                  <a:lnTo>
                    <a:pt x="0" y="102"/>
                  </a:lnTo>
                  <a:lnTo>
                    <a:pt x="0" y="102"/>
                  </a:lnTo>
                  <a:lnTo>
                    <a:pt x="0" y="112"/>
                  </a:lnTo>
                  <a:lnTo>
                    <a:pt x="2" y="122"/>
                  </a:lnTo>
                  <a:lnTo>
                    <a:pt x="4" y="128"/>
                  </a:lnTo>
                  <a:lnTo>
                    <a:pt x="8" y="132"/>
                  </a:lnTo>
                  <a:lnTo>
                    <a:pt x="8" y="132"/>
                  </a:lnTo>
                  <a:lnTo>
                    <a:pt x="14" y="136"/>
                  </a:lnTo>
                  <a:lnTo>
                    <a:pt x="20" y="138"/>
                  </a:lnTo>
                  <a:lnTo>
                    <a:pt x="38" y="140"/>
                  </a:lnTo>
                  <a:lnTo>
                    <a:pt x="74" y="140"/>
                  </a:lnTo>
                  <a:lnTo>
                    <a:pt x="74" y="206"/>
                  </a:lnTo>
                  <a:lnTo>
                    <a:pt x="74" y="206"/>
                  </a:lnTo>
                  <a:lnTo>
                    <a:pt x="76" y="220"/>
                  </a:lnTo>
                  <a:lnTo>
                    <a:pt x="78" y="230"/>
                  </a:lnTo>
                  <a:lnTo>
                    <a:pt x="82" y="240"/>
                  </a:lnTo>
                  <a:lnTo>
                    <a:pt x="88" y="246"/>
                  </a:lnTo>
                  <a:lnTo>
                    <a:pt x="96" y="252"/>
                  </a:lnTo>
                  <a:lnTo>
                    <a:pt x="104" y="256"/>
                  </a:lnTo>
                  <a:lnTo>
                    <a:pt x="116" y="260"/>
                  </a:lnTo>
                  <a:lnTo>
                    <a:pt x="128" y="260"/>
                  </a:lnTo>
                  <a:lnTo>
                    <a:pt x="212" y="260"/>
                  </a:lnTo>
                  <a:lnTo>
                    <a:pt x="212" y="310"/>
                  </a:lnTo>
                  <a:lnTo>
                    <a:pt x="72" y="310"/>
                  </a:lnTo>
                  <a:lnTo>
                    <a:pt x="72" y="310"/>
                  </a:lnTo>
                  <a:lnTo>
                    <a:pt x="58" y="310"/>
                  </a:lnTo>
                  <a:lnTo>
                    <a:pt x="48" y="312"/>
                  </a:lnTo>
                  <a:lnTo>
                    <a:pt x="38" y="316"/>
                  </a:lnTo>
                  <a:lnTo>
                    <a:pt x="30" y="322"/>
                  </a:lnTo>
                  <a:lnTo>
                    <a:pt x="24" y="330"/>
                  </a:lnTo>
                  <a:lnTo>
                    <a:pt x="20" y="338"/>
                  </a:lnTo>
                  <a:lnTo>
                    <a:pt x="18" y="350"/>
                  </a:lnTo>
                  <a:lnTo>
                    <a:pt x="18" y="362"/>
                  </a:lnTo>
                  <a:lnTo>
                    <a:pt x="18" y="478"/>
                  </a:lnTo>
                  <a:lnTo>
                    <a:pt x="18" y="478"/>
                  </a:lnTo>
                  <a:lnTo>
                    <a:pt x="18" y="492"/>
                  </a:lnTo>
                  <a:lnTo>
                    <a:pt x="20" y="502"/>
                  </a:lnTo>
                  <a:lnTo>
                    <a:pt x="24" y="512"/>
                  </a:lnTo>
                  <a:lnTo>
                    <a:pt x="30" y="518"/>
                  </a:lnTo>
                  <a:lnTo>
                    <a:pt x="38" y="524"/>
                  </a:lnTo>
                  <a:lnTo>
                    <a:pt x="48" y="528"/>
                  </a:lnTo>
                  <a:lnTo>
                    <a:pt x="58" y="532"/>
                  </a:lnTo>
                  <a:lnTo>
                    <a:pt x="72" y="532"/>
                  </a:lnTo>
                  <a:lnTo>
                    <a:pt x="212" y="532"/>
                  </a:lnTo>
                  <a:lnTo>
                    <a:pt x="212" y="580"/>
                  </a:lnTo>
                  <a:lnTo>
                    <a:pt x="42" y="580"/>
                  </a:lnTo>
                  <a:lnTo>
                    <a:pt x="42" y="580"/>
                  </a:lnTo>
                  <a:lnTo>
                    <a:pt x="26" y="582"/>
                  </a:lnTo>
                  <a:lnTo>
                    <a:pt x="20" y="584"/>
                  </a:lnTo>
                  <a:lnTo>
                    <a:pt x="16" y="588"/>
                  </a:lnTo>
                  <a:lnTo>
                    <a:pt x="16" y="588"/>
                  </a:lnTo>
                  <a:lnTo>
                    <a:pt x="10" y="592"/>
                  </a:lnTo>
                  <a:lnTo>
                    <a:pt x="6" y="600"/>
                  </a:lnTo>
                  <a:lnTo>
                    <a:pt x="4" y="608"/>
                  </a:lnTo>
                  <a:lnTo>
                    <a:pt x="4" y="618"/>
                  </a:lnTo>
                  <a:lnTo>
                    <a:pt x="4" y="618"/>
                  </a:lnTo>
                  <a:lnTo>
                    <a:pt x="4" y="628"/>
                  </a:lnTo>
                  <a:lnTo>
                    <a:pt x="6" y="638"/>
                  </a:lnTo>
                  <a:lnTo>
                    <a:pt x="10" y="644"/>
                  </a:lnTo>
                  <a:lnTo>
                    <a:pt x="14" y="650"/>
                  </a:lnTo>
                  <a:lnTo>
                    <a:pt x="14" y="650"/>
                  </a:lnTo>
                  <a:lnTo>
                    <a:pt x="20" y="654"/>
                  </a:lnTo>
                  <a:lnTo>
                    <a:pt x="26" y="656"/>
                  </a:lnTo>
                  <a:lnTo>
                    <a:pt x="34" y="658"/>
                  </a:lnTo>
                  <a:lnTo>
                    <a:pt x="42" y="660"/>
                  </a:lnTo>
                  <a:lnTo>
                    <a:pt x="212" y="660"/>
                  </a:lnTo>
                  <a:lnTo>
                    <a:pt x="212" y="708"/>
                  </a:lnTo>
                  <a:lnTo>
                    <a:pt x="72" y="708"/>
                  </a:lnTo>
                  <a:lnTo>
                    <a:pt x="72" y="708"/>
                  </a:lnTo>
                  <a:lnTo>
                    <a:pt x="56" y="710"/>
                  </a:lnTo>
                  <a:lnTo>
                    <a:pt x="50" y="712"/>
                  </a:lnTo>
                  <a:lnTo>
                    <a:pt x="46" y="716"/>
                  </a:lnTo>
                  <a:lnTo>
                    <a:pt x="46" y="716"/>
                  </a:lnTo>
                  <a:lnTo>
                    <a:pt x="42" y="720"/>
                  </a:lnTo>
                  <a:lnTo>
                    <a:pt x="40" y="728"/>
                  </a:lnTo>
                  <a:lnTo>
                    <a:pt x="38" y="736"/>
                  </a:lnTo>
                  <a:lnTo>
                    <a:pt x="36" y="748"/>
                  </a:lnTo>
                  <a:lnTo>
                    <a:pt x="36" y="748"/>
                  </a:lnTo>
                  <a:lnTo>
                    <a:pt x="38" y="758"/>
                  </a:lnTo>
                  <a:lnTo>
                    <a:pt x="40" y="766"/>
                  </a:lnTo>
                  <a:lnTo>
                    <a:pt x="42" y="772"/>
                  </a:lnTo>
                  <a:lnTo>
                    <a:pt x="46" y="776"/>
                  </a:lnTo>
                  <a:lnTo>
                    <a:pt x="46" y="776"/>
                  </a:lnTo>
                  <a:lnTo>
                    <a:pt x="50" y="780"/>
                  </a:lnTo>
                  <a:lnTo>
                    <a:pt x="56" y="782"/>
                  </a:lnTo>
                  <a:lnTo>
                    <a:pt x="64" y="784"/>
                  </a:lnTo>
                  <a:lnTo>
                    <a:pt x="72" y="786"/>
                  </a:lnTo>
                  <a:lnTo>
                    <a:pt x="212" y="786"/>
                  </a:lnTo>
                  <a:lnTo>
                    <a:pt x="212" y="842"/>
                  </a:lnTo>
                  <a:lnTo>
                    <a:pt x="208" y="842"/>
                  </a:lnTo>
                  <a:lnTo>
                    <a:pt x="208" y="842"/>
                  </a:lnTo>
                  <a:lnTo>
                    <a:pt x="50" y="848"/>
                  </a:lnTo>
                  <a:lnTo>
                    <a:pt x="50" y="848"/>
                  </a:lnTo>
                  <a:lnTo>
                    <a:pt x="38" y="850"/>
                  </a:lnTo>
                  <a:lnTo>
                    <a:pt x="26" y="852"/>
                  </a:lnTo>
                  <a:lnTo>
                    <a:pt x="18" y="858"/>
                  </a:lnTo>
                  <a:lnTo>
                    <a:pt x="10" y="864"/>
                  </a:lnTo>
                  <a:lnTo>
                    <a:pt x="10" y="864"/>
                  </a:lnTo>
                  <a:lnTo>
                    <a:pt x="4" y="868"/>
                  </a:lnTo>
                  <a:lnTo>
                    <a:pt x="2" y="874"/>
                  </a:lnTo>
                  <a:lnTo>
                    <a:pt x="0" y="882"/>
                  </a:lnTo>
                  <a:lnTo>
                    <a:pt x="0" y="890"/>
                  </a:lnTo>
                  <a:lnTo>
                    <a:pt x="0" y="890"/>
                  </a:lnTo>
                  <a:lnTo>
                    <a:pt x="0" y="902"/>
                  </a:lnTo>
                  <a:lnTo>
                    <a:pt x="4" y="910"/>
                  </a:lnTo>
                  <a:lnTo>
                    <a:pt x="6" y="918"/>
                  </a:lnTo>
                  <a:lnTo>
                    <a:pt x="10" y="924"/>
                  </a:lnTo>
                  <a:lnTo>
                    <a:pt x="10" y="924"/>
                  </a:lnTo>
                  <a:lnTo>
                    <a:pt x="16" y="928"/>
                  </a:lnTo>
                  <a:lnTo>
                    <a:pt x="24" y="930"/>
                  </a:lnTo>
                  <a:lnTo>
                    <a:pt x="42" y="932"/>
                  </a:lnTo>
                  <a:lnTo>
                    <a:pt x="42" y="932"/>
                  </a:lnTo>
                  <a:lnTo>
                    <a:pt x="142" y="928"/>
                  </a:lnTo>
                  <a:lnTo>
                    <a:pt x="246" y="922"/>
                  </a:lnTo>
                  <a:lnTo>
                    <a:pt x="354" y="914"/>
                  </a:lnTo>
                  <a:lnTo>
                    <a:pt x="466" y="902"/>
                  </a:lnTo>
                  <a:lnTo>
                    <a:pt x="470" y="902"/>
                  </a:lnTo>
                  <a:lnTo>
                    <a:pt x="468" y="906"/>
                  </a:lnTo>
                  <a:lnTo>
                    <a:pt x="468" y="906"/>
                  </a:lnTo>
                  <a:lnTo>
                    <a:pt x="466" y="920"/>
                  </a:lnTo>
                  <a:lnTo>
                    <a:pt x="466" y="920"/>
                  </a:lnTo>
                  <a:lnTo>
                    <a:pt x="468" y="930"/>
                  </a:lnTo>
                  <a:lnTo>
                    <a:pt x="474" y="942"/>
                  </a:lnTo>
                  <a:lnTo>
                    <a:pt x="474" y="942"/>
                  </a:lnTo>
                  <a:lnTo>
                    <a:pt x="480" y="946"/>
                  </a:lnTo>
                  <a:lnTo>
                    <a:pt x="488" y="950"/>
                  </a:lnTo>
                  <a:lnTo>
                    <a:pt x="498" y="952"/>
                  </a:lnTo>
                  <a:lnTo>
                    <a:pt x="510" y="954"/>
                  </a:lnTo>
                  <a:lnTo>
                    <a:pt x="510" y="954"/>
                  </a:lnTo>
                  <a:lnTo>
                    <a:pt x="526" y="952"/>
                  </a:lnTo>
                  <a:lnTo>
                    <a:pt x="542" y="948"/>
                  </a:lnTo>
                  <a:lnTo>
                    <a:pt x="554" y="940"/>
                  </a:lnTo>
                  <a:lnTo>
                    <a:pt x="566" y="930"/>
                  </a:lnTo>
                  <a:lnTo>
                    <a:pt x="566" y="930"/>
                  </a:lnTo>
                  <a:lnTo>
                    <a:pt x="588" y="892"/>
                  </a:lnTo>
                  <a:lnTo>
                    <a:pt x="608" y="850"/>
                  </a:lnTo>
                  <a:lnTo>
                    <a:pt x="624" y="806"/>
                  </a:lnTo>
                  <a:lnTo>
                    <a:pt x="640" y="760"/>
                  </a:lnTo>
                  <a:lnTo>
                    <a:pt x="656" y="712"/>
                  </a:lnTo>
                  <a:lnTo>
                    <a:pt x="668" y="662"/>
                  </a:lnTo>
                  <a:lnTo>
                    <a:pt x="678" y="608"/>
                  </a:lnTo>
                  <a:lnTo>
                    <a:pt x="688" y="554"/>
                  </a:lnTo>
                  <a:lnTo>
                    <a:pt x="688" y="554"/>
                  </a:lnTo>
                  <a:lnTo>
                    <a:pt x="696" y="498"/>
                  </a:lnTo>
                  <a:lnTo>
                    <a:pt x="704" y="438"/>
                  </a:lnTo>
                  <a:lnTo>
                    <a:pt x="710" y="376"/>
                  </a:lnTo>
                  <a:lnTo>
                    <a:pt x="714" y="308"/>
                  </a:lnTo>
                  <a:lnTo>
                    <a:pt x="714" y="306"/>
                  </a:lnTo>
                  <a:lnTo>
                    <a:pt x="814" y="306"/>
                  </a:lnTo>
                  <a:lnTo>
                    <a:pt x="814" y="306"/>
                  </a:lnTo>
                  <a:lnTo>
                    <a:pt x="820" y="306"/>
                  </a:lnTo>
                  <a:lnTo>
                    <a:pt x="826" y="310"/>
                  </a:lnTo>
                  <a:lnTo>
                    <a:pt x="830" y="318"/>
                  </a:lnTo>
                  <a:lnTo>
                    <a:pt x="834" y="330"/>
                  </a:lnTo>
                  <a:lnTo>
                    <a:pt x="834" y="330"/>
                  </a:lnTo>
                  <a:lnTo>
                    <a:pt x="832" y="616"/>
                  </a:lnTo>
                  <a:lnTo>
                    <a:pt x="830" y="768"/>
                  </a:lnTo>
                  <a:lnTo>
                    <a:pt x="830" y="768"/>
                  </a:lnTo>
                  <a:lnTo>
                    <a:pt x="830" y="796"/>
                  </a:lnTo>
                  <a:lnTo>
                    <a:pt x="828" y="816"/>
                  </a:lnTo>
                  <a:lnTo>
                    <a:pt x="826" y="826"/>
                  </a:lnTo>
                  <a:lnTo>
                    <a:pt x="824" y="830"/>
                  </a:lnTo>
                  <a:lnTo>
                    <a:pt x="824" y="830"/>
                  </a:lnTo>
                  <a:lnTo>
                    <a:pt x="816" y="840"/>
                  </a:lnTo>
                  <a:lnTo>
                    <a:pt x="806" y="846"/>
                  </a:lnTo>
                  <a:lnTo>
                    <a:pt x="794" y="850"/>
                  </a:lnTo>
                  <a:lnTo>
                    <a:pt x="776" y="852"/>
                  </a:lnTo>
                  <a:lnTo>
                    <a:pt x="776" y="852"/>
                  </a:lnTo>
                  <a:lnTo>
                    <a:pt x="760" y="852"/>
                  </a:lnTo>
                  <a:lnTo>
                    <a:pt x="742" y="850"/>
                  </a:lnTo>
                  <a:lnTo>
                    <a:pt x="726" y="846"/>
                  </a:lnTo>
                  <a:lnTo>
                    <a:pt x="706" y="840"/>
                  </a:lnTo>
                  <a:lnTo>
                    <a:pt x="706" y="840"/>
                  </a:lnTo>
                  <a:lnTo>
                    <a:pt x="694" y="838"/>
                  </a:lnTo>
                  <a:lnTo>
                    <a:pt x="686" y="836"/>
                  </a:lnTo>
                  <a:lnTo>
                    <a:pt x="686" y="836"/>
                  </a:lnTo>
                  <a:lnTo>
                    <a:pt x="678" y="838"/>
                  </a:lnTo>
                  <a:lnTo>
                    <a:pt x="668" y="840"/>
                  </a:lnTo>
                  <a:lnTo>
                    <a:pt x="660" y="844"/>
                  </a:lnTo>
                  <a:lnTo>
                    <a:pt x="654" y="850"/>
                  </a:lnTo>
                  <a:lnTo>
                    <a:pt x="654" y="850"/>
                  </a:lnTo>
                  <a:lnTo>
                    <a:pt x="650" y="856"/>
                  </a:lnTo>
                  <a:lnTo>
                    <a:pt x="646" y="864"/>
                  </a:lnTo>
                  <a:lnTo>
                    <a:pt x="644" y="874"/>
                  </a:lnTo>
                  <a:lnTo>
                    <a:pt x="644" y="886"/>
                  </a:lnTo>
                  <a:lnTo>
                    <a:pt x="644" y="886"/>
                  </a:lnTo>
                  <a:lnTo>
                    <a:pt x="646" y="894"/>
                  </a:lnTo>
                  <a:lnTo>
                    <a:pt x="648" y="904"/>
                  </a:lnTo>
                  <a:lnTo>
                    <a:pt x="652" y="912"/>
                  </a:lnTo>
                  <a:lnTo>
                    <a:pt x="660" y="920"/>
                  </a:lnTo>
                  <a:lnTo>
                    <a:pt x="660" y="920"/>
                  </a:lnTo>
                  <a:lnTo>
                    <a:pt x="666" y="926"/>
                  </a:lnTo>
                  <a:lnTo>
                    <a:pt x="676" y="932"/>
                  </a:lnTo>
                  <a:lnTo>
                    <a:pt x="688" y="938"/>
                  </a:lnTo>
                  <a:lnTo>
                    <a:pt x="702" y="942"/>
                  </a:lnTo>
                  <a:close/>
                  <a:moveTo>
                    <a:pt x="212" y="460"/>
                  </a:moveTo>
                  <a:lnTo>
                    <a:pt x="132" y="460"/>
                  </a:lnTo>
                  <a:lnTo>
                    <a:pt x="132" y="460"/>
                  </a:lnTo>
                  <a:lnTo>
                    <a:pt x="124" y="460"/>
                  </a:lnTo>
                  <a:lnTo>
                    <a:pt x="118" y="456"/>
                  </a:lnTo>
                  <a:lnTo>
                    <a:pt x="116" y="450"/>
                  </a:lnTo>
                  <a:lnTo>
                    <a:pt x="114" y="440"/>
                  </a:lnTo>
                  <a:lnTo>
                    <a:pt x="114" y="400"/>
                  </a:lnTo>
                  <a:lnTo>
                    <a:pt x="114" y="400"/>
                  </a:lnTo>
                  <a:lnTo>
                    <a:pt x="116" y="392"/>
                  </a:lnTo>
                  <a:lnTo>
                    <a:pt x="118" y="386"/>
                  </a:lnTo>
                  <a:lnTo>
                    <a:pt x="124" y="382"/>
                  </a:lnTo>
                  <a:lnTo>
                    <a:pt x="132" y="380"/>
                  </a:lnTo>
                  <a:lnTo>
                    <a:pt x="212" y="380"/>
                  </a:lnTo>
                  <a:lnTo>
                    <a:pt x="212" y="460"/>
                  </a:lnTo>
                  <a:close/>
                  <a:moveTo>
                    <a:pt x="396" y="380"/>
                  </a:moveTo>
                  <a:lnTo>
                    <a:pt x="396" y="380"/>
                  </a:lnTo>
                  <a:lnTo>
                    <a:pt x="406" y="382"/>
                  </a:lnTo>
                  <a:lnTo>
                    <a:pt x="412" y="386"/>
                  </a:lnTo>
                  <a:lnTo>
                    <a:pt x="416" y="392"/>
                  </a:lnTo>
                  <a:lnTo>
                    <a:pt x="416" y="400"/>
                  </a:lnTo>
                  <a:lnTo>
                    <a:pt x="416" y="440"/>
                  </a:lnTo>
                  <a:lnTo>
                    <a:pt x="416" y="440"/>
                  </a:lnTo>
                  <a:lnTo>
                    <a:pt x="416" y="448"/>
                  </a:lnTo>
                  <a:lnTo>
                    <a:pt x="412" y="454"/>
                  </a:lnTo>
                  <a:lnTo>
                    <a:pt x="406" y="458"/>
                  </a:lnTo>
                  <a:lnTo>
                    <a:pt x="396" y="460"/>
                  </a:lnTo>
                  <a:lnTo>
                    <a:pt x="306" y="460"/>
                  </a:lnTo>
                  <a:lnTo>
                    <a:pt x="306" y="380"/>
                  </a:lnTo>
                  <a:lnTo>
                    <a:pt x="396" y="380"/>
                  </a:lnTo>
                  <a:close/>
                  <a:moveTo>
                    <a:pt x="182" y="188"/>
                  </a:moveTo>
                  <a:lnTo>
                    <a:pt x="182" y="188"/>
                  </a:lnTo>
                  <a:lnTo>
                    <a:pt x="176" y="188"/>
                  </a:lnTo>
                  <a:lnTo>
                    <a:pt x="172" y="186"/>
                  </a:lnTo>
                  <a:lnTo>
                    <a:pt x="170" y="184"/>
                  </a:lnTo>
                  <a:lnTo>
                    <a:pt x="170" y="180"/>
                  </a:lnTo>
                  <a:lnTo>
                    <a:pt x="170" y="140"/>
                  </a:lnTo>
                  <a:lnTo>
                    <a:pt x="360" y="140"/>
                  </a:lnTo>
                  <a:lnTo>
                    <a:pt x="360" y="180"/>
                  </a:lnTo>
                  <a:lnTo>
                    <a:pt x="360" y="180"/>
                  </a:lnTo>
                  <a:lnTo>
                    <a:pt x="358" y="184"/>
                  </a:lnTo>
                  <a:lnTo>
                    <a:pt x="354" y="188"/>
                  </a:lnTo>
                  <a:lnTo>
                    <a:pt x="340" y="188"/>
                  </a:lnTo>
                  <a:lnTo>
                    <a:pt x="182" y="188"/>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dirty="0"/>
            </a:p>
          </p:txBody>
        </p:sp>
        <p:sp>
          <p:nvSpPr>
            <p:cNvPr id="21" name="Freeform 11"/>
            <p:cNvSpPr>
              <a:spLocks noEditPoints="1"/>
            </p:cNvSpPr>
            <p:nvPr/>
          </p:nvSpPr>
          <p:spPr bwMode="auto">
            <a:xfrm>
              <a:off x="5731109" y="2156888"/>
              <a:ext cx="728827" cy="730349"/>
            </a:xfrm>
            <a:custGeom>
              <a:avLst/>
              <a:gdLst>
                <a:gd name="T0" fmla="*/ 482 w 958"/>
                <a:gd name="T1" fmla="*/ 960 h 960"/>
                <a:gd name="T2" fmla="*/ 522 w 958"/>
                <a:gd name="T3" fmla="*/ 946 h 960"/>
                <a:gd name="T4" fmla="*/ 540 w 958"/>
                <a:gd name="T5" fmla="*/ 764 h 960"/>
                <a:gd name="T6" fmla="*/ 778 w 958"/>
                <a:gd name="T7" fmla="*/ 908 h 960"/>
                <a:gd name="T8" fmla="*/ 906 w 958"/>
                <a:gd name="T9" fmla="*/ 936 h 960"/>
                <a:gd name="T10" fmla="*/ 950 w 958"/>
                <a:gd name="T11" fmla="*/ 914 h 960"/>
                <a:gd name="T12" fmla="*/ 944 w 958"/>
                <a:gd name="T13" fmla="*/ 866 h 960"/>
                <a:gd name="T14" fmla="*/ 636 w 958"/>
                <a:gd name="T15" fmla="*/ 740 h 960"/>
                <a:gd name="T16" fmla="*/ 928 w 958"/>
                <a:gd name="T17" fmla="*/ 724 h 960"/>
                <a:gd name="T18" fmla="*/ 944 w 958"/>
                <a:gd name="T19" fmla="*/ 686 h 960"/>
                <a:gd name="T20" fmla="*/ 934 w 958"/>
                <a:gd name="T21" fmla="*/ 652 h 960"/>
                <a:gd name="T22" fmla="*/ 534 w 958"/>
                <a:gd name="T23" fmla="*/ 574 h 960"/>
                <a:gd name="T24" fmla="*/ 894 w 958"/>
                <a:gd name="T25" fmla="*/ 562 h 960"/>
                <a:gd name="T26" fmla="*/ 902 w 958"/>
                <a:gd name="T27" fmla="*/ 522 h 960"/>
                <a:gd name="T28" fmla="*/ 880 w 958"/>
                <a:gd name="T29" fmla="*/ 492 h 960"/>
                <a:gd name="T30" fmla="*/ 874 w 958"/>
                <a:gd name="T31" fmla="*/ 424 h 960"/>
                <a:gd name="T32" fmla="*/ 914 w 958"/>
                <a:gd name="T33" fmla="*/ 402 h 960"/>
                <a:gd name="T34" fmla="*/ 912 w 958"/>
                <a:gd name="T35" fmla="*/ 348 h 960"/>
                <a:gd name="T36" fmla="*/ 874 w 958"/>
                <a:gd name="T37" fmla="*/ 334 h 960"/>
                <a:gd name="T38" fmla="*/ 938 w 958"/>
                <a:gd name="T39" fmla="*/ 246 h 960"/>
                <a:gd name="T40" fmla="*/ 958 w 958"/>
                <a:gd name="T41" fmla="*/ 204 h 960"/>
                <a:gd name="T42" fmla="*/ 950 w 958"/>
                <a:gd name="T43" fmla="*/ 170 h 960"/>
                <a:gd name="T44" fmla="*/ 816 w 958"/>
                <a:gd name="T45" fmla="*/ 156 h 960"/>
                <a:gd name="T46" fmla="*/ 852 w 958"/>
                <a:gd name="T47" fmla="*/ 48 h 960"/>
                <a:gd name="T48" fmla="*/ 810 w 958"/>
                <a:gd name="T49" fmla="*/ 34 h 960"/>
                <a:gd name="T50" fmla="*/ 718 w 958"/>
                <a:gd name="T51" fmla="*/ 158 h 960"/>
                <a:gd name="T52" fmla="*/ 620 w 958"/>
                <a:gd name="T53" fmla="*/ 24 h 960"/>
                <a:gd name="T54" fmla="*/ 586 w 958"/>
                <a:gd name="T55" fmla="*/ 0 h 960"/>
                <a:gd name="T56" fmla="*/ 536 w 958"/>
                <a:gd name="T57" fmla="*/ 8 h 960"/>
                <a:gd name="T58" fmla="*/ 524 w 958"/>
                <a:gd name="T59" fmla="*/ 160 h 960"/>
                <a:gd name="T60" fmla="*/ 420 w 958"/>
                <a:gd name="T61" fmla="*/ 16 h 960"/>
                <a:gd name="T62" fmla="*/ 378 w 958"/>
                <a:gd name="T63" fmla="*/ 0 h 960"/>
                <a:gd name="T64" fmla="*/ 340 w 958"/>
                <a:gd name="T65" fmla="*/ 8 h 960"/>
                <a:gd name="T66" fmla="*/ 254 w 958"/>
                <a:gd name="T67" fmla="*/ 160 h 960"/>
                <a:gd name="T68" fmla="*/ 210 w 958"/>
                <a:gd name="T69" fmla="*/ 76 h 960"/>
                <a:gd name="T70" fmla="*/ 154 w 958"/>
                <a:gd name="T71" fmla="*/ 34 h 960"/>
                <a:gd name="T72" fmla="*/ 112 w 958"/>
                <a:gd name="T73" fmla="*/ 52 h 960"/>
                <a:gd name="T74" fmla="*/ 116 w 958"/>
                <a:gd name="T75" fmla="*/ 90 h 960"/>
                <a:gd name="T76" fmla="*/ 32 w 958"/>
                <a:gd name="T77" fmla="*/ 162 h 960"/>
                <a:gd name="T78" fmla="*/ 2 w 958"/>
                <a:gd name="T79" fmla="*/ 184 h 960"/>
                <a:gd name="T80" fmla="*/ 6 w 958"/>
                <a:gd name="T81" fmla="*/ 232 h 960"/>
                <a:gd name="T82" fmla="*/ 42 w 958"/>
                <a:gd name="T83" fmla="*/ 250 h 960"/>
                <a:gd name="T84" fmla="*/ 60 w 958"/>
                <a:gd name="T85" fmla="*/ 336 h 960"/>
                <a:gd name="T86" fmla="*/ 38 w 958"/>
                <a:gd name="T87" fmla="*/ 366 h 960"/>
                <a:gd name="T88" fmla="*/ 48 w 958"/>
                <a:gd name="T89" fmla="*/ 412 h 960"/>
                <a:gd name="T90" fmla="*/ 434 w 958"/>
                <a:gd name="T91" fmla="*/ 424 h 960"/>
                <a:gd name="T92" fmla="*/ 66 w 958"/>
                <a:gd name="T93" fmla="*/ 496 h 960"/>
                <a:gd name="T94" fmla="*/ 48 w 958"/>
                <a:gd name="T95" fmla="*/ 532 h 960"/>
                <a:gd name="T96" fmla="*/ 58 w 958"/>
                <a:gd name="T97" fmla="*/ 566 h 960"/>
                <a:gd name="T98" fmla="*/ 434 w 958"/>
                <a:gd name="T99" fmla="*/ 644 h 960"/>
                <a:gd name="T100" fmla="*/ 18 w 958"/>
                <a:gd name="T101" fmla="*/ 652 h 960"/>
                <a:gd name="T102" fmla="*/ 8 w 958"/>
                <a:gd name="T103" fmla="*/ 686 h 960"/>
                <a:gd name="T104" fmla="*/ 24 w 958"/>
                <a:gd name="T105" fmla="*/ 726 h 960"/>
                <a:gd name="T106" fmla="*/ 314 w 958"/>
                <a:gd name="T107" fmla="*/ 740 h 960"/>
                <a:gd name="T108" fmla="*/ 22 w 958"/>
                <a:gd name="T109" fmla="*/ 854 h 960"/>
                <a:gd name="T110" fmla="*/ 0 w 958"/>
                <a:gd name="T111" fmla="*/ 888 h 960"/>
                <a:gd name="T112" fmla="*/ 22 w 958"/>
                <a:gd name="T113" fmla="*/ 936 h 960"/>
                <a:gd name="T114" fmla="*/ 88 w 958"/>
                <a:gd name="T115" fmla="*/ 944 h 960"/>
                <a:gd name="T116" fmla="*/ 214 w 958"/>
                <a:gd name="T117" fmla="*/ 894 h 960"/>
                <a:gd name="T118" fmla="*/ 428 w 958"/>
                <a:gd name="T119" fmla="*/ 764 h 960"/>
                <a:gd name="T120" fmla="*/ 440 w 958"/>
                <a:gd name="T121" fmla="*/ 940 h 960"/>
                <a:gd name="T122" fmla="*/ 382 w 958"/>
                <a:gd name="T123" fmla="*/ 334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8" h="960">
                  <a:moveTo>
                    <a:pt x="444" y="946"/>
                  </a:moveTo>
                  <a:lnTo>
                    <a:pt x="444" y="946"/>
                  </a:lnTo>
                  <a:lnTo>
                    <a:pt x="452" y="952"/>
                  </a:lnTo>
                  <a:lnTo>
                    <a:pt x="462" y="956"/>
                  </a:lnTo>
                  <a:lnTo>
                    <a:pt x="472" y="958"/>
                  </a:lnTo>
                  <a:lnTo>
                    <a:pt x="482" y="960"/>
                  </a:lnTo>
                  <a:lnTo>
                    <a:pt x="482" y="960"/>
                  </a:lnTo>
                  <a:lnTo>
                    <a:pt x="496" y="958"/>
                  </a:lnTo>
                  <a:lnTo>
                    <a:pt x="506" y="956"/>
                  </a:lnTo>
                  <a:lnTo>
                    <a:pt x="514" y="952"/>
                  </a:lnTo>
                  <a:lnTo>
                    <a:pt x="522" y="946"/>
                  </a:lnTo>
                  <a:lnTo>
                    <a:pt x="522" y="946"/>
                  </a:lnTo>
                  <a:lnTo>
                    <a:pt x="526" y="940"/>
                  </a:lnTo>
                  <a:lnTo>
                    <a:pt x="530" y="932"/>
                  </a:lnTo>
                  <a:lnTo>
                    <a:pt x="534" y="922"/>
                  </a:lnTo>
                  <a:lnTo>
                    <a:pt x="534" y="910"/>
                  </a:lnTo>
                  <a:lnTo>
                    <a:pt x="534" y="760"/>
                  </a:lnTo>
                  <a:lnTo>
                    <a:pt x="540" y="764"/>
                  </a:lnTo>
                  <a:lnTo>
                    <a:pt x="540" y="764"/>
                  </a:lnTo>
                  <a:lnTo>
                    <a:pt x="598" y="802"/>
                  </a:lnTo>
                  <a:lnTo>
                    <a:pt x="656" y="840"/>
                  </a:lnTo>
                  <a:lnTo>
                    <a:pt x="716" y="874"/>
                  </a:lnTo>
                  <a:lnTo>
                    <a:pt x="778" y="908"/>
                  </a:lnTo>
                  <a:lnTo>
                    <a:pt x="778" y="908"/>
                  </a:lnTo>
                  <a:lnTo>
                    <a:pt x="808" y="920"/>
                  </a:lnTo>
                  <a:lnTo>
                    <a:pt x="836" y="930"/>
                  </a:lnTo>
                  <a:lnTo>
                    <a:pt x="864" y="936"/>
                  </a:lnTo>
                  <a:lnTo>
                    <a:pt x="892" y="938"/>
                  </a:lnTo>
                  <a:lnTo>
                    <a:pt x="892" y="938"/>
                  </a:lnTo>
                  <a:lnTo>
                    <a:pt x="906" y="936"/>
                  </a:lnTo>
                  <a:lnTo>
                    <a:pt x="918" y="934"/>
                  </a:lnTo>
                  <a:lnTo>
                    <a:pt x="928" y="930"/>
                  </a:lnTo>
                  <a:lnTo>
                    <a:pt x="936" y="926"/>
                  </a:lnTo>
                  <a:lnTo>
                    <a:pt x="936" y="926"/>
                  </a:lnTo>
                  <a:lnTo>
                    <a:pt x="944" y="920"/>
                  </a:lnTo>
                  <a:lnTo>
                    <a:pt x="950" y="914"/>
                  </a:lnTo>
                  <a:lnTo>
                    <a:pt x="954" y="906"/>
                  </a:lnTo>
                  <a:lnTo>
                    <a:pt x="956" y="896"/>
                  </a:lnTo>
                  <a:lnTo>
                    <a:pt x="956" y="896"/>
                  </a:lnTo>
                  <a:lnTo>
                    <a:pt x="954" y="886"/>
                  </a:lnTo>
                  <a:lnTo>
                    <a:pt x="950" y="876"/>
                  </a:lnTo>
                  <a:lnTo>
                    <a:pt x="944" y="866"/>
                  </a:lnTo>
                  <a:lnTo>
                    <a:pt x="936" y="858"/>
                  </a:lnTo>
                  <a:lnTo>
                    <a:pt x="936" y="858"/>
                  </a:lnTo>
                  <a:lnTo>
                    <a:pt x="852" y="828"/>
                  </a:lnTo>
                  <a:lnTo>
                    <a:pt x="774" y="800"/>
                  </a:lnTo>
                  <a:lnTo>
                    <a:pt x="702" y="770"/>
                  </a:lnTo>
                  <a:lnTo>
                    <a:pt x="636" y="740"/>
                  </a:lnTo>
                  <a:lnTo>
                    <a:pt x="624" y="732"/>
                  </a:lnTo>
                  <a:lnTo>
                    <a:pt x="902" y="732"/>
                  </a:lnTo>
                  <a:lnTo>
                    <a:pt x="902" y="732"/>
                  </a:lnTo>
                  <a:lnTo>
                    <a:pt x="912" y="732"/>
                  </a:lnTo>
                  <a:lnTo>
                    <a:pt x="920" y="728"/>
                  </a:lnTo>
                  <a:lnTo>
                    <a:pt x="928" y="724"/>
                  </a:lnTo>
                  <a:lnTo>
                    <a:pt x="934" y="718"/>
                  </a:lnTo>
                  <a:lnTo>
                    <a:pt x="934" y="718"/>
                  </a:lnTo>
                  <a:lnTo>
                    <a:pt x="938" y="712"/>
                  </a:lnTo>
                  <a:lnTo>
                    <a:pt x="942" y="704"/>
                  </a:lnTo>
                  <a:lnTo>
                    <a:pt x="942" y="696"/>
                  </a:lnTo>
                  <a:lnTo>
                    <a:pt x="944" y="686"/>
                  </a:lnTo>
                  <a:lnTo>
                    <a:pt x="944" y="686"/>
                  </a:lnTo>
                  <a:lnTo>
                    <a:pt x="942" y="674"/>
                  </a:lnTo>
                  <a:lnTo>
                    <a:pt x="940" y="664"/>
                  </a:lnTo>
                  <a:lnTo>
                    <a:pt x="938" y="658"/>
                  </a:lnTo>
                  <a:lnTo>
                    <a:pt x="934" y="652"/>
                  </a:lnTo>
                  <a:lnTo>
                    <a:pt x="934" y="652"/>
                  </a:lnTo>
                  <a:lnTo>
                    <a:pt x="928" y="648"/>
                  </a:lnTo>
                  <a:lnTo>
                    <a:pt x="920" y="646"/>
                  </a:lnTo>
                  <a:lnTo>
                    <a:pt x="912" y="644"/>
                  </a:lnTo>
                  <a:lnTo>
                    <a:pt x="902" y="644"/>
                  </a:lnTo>
                  <a:lnTo>
                    <a:pt x="534" y="644"/>
                  </a:lnTo>
                  <a:lnTo>
                    <a:pt x="534" y="574"/>
                  </a:lnTo>
                  <a:lnTo>
                    <a:pt x="860" y="574"/>
                  </a:lnTo>
                  <a:lnTo>
                    <a:pt x="860" y="574"/>
                  </a:lnTo>
                  <a:lnTo>
                    <a:pt x="870" y="574"/>
                  </a:lnTo>
                  <a:lnTo>
                    <a:pt x="880" y="572"/>
                  </a:lnTo>
                  <a:lnTo>
                    <a:pt x="888" y="568"/>
                  </a:lnTo>
                  <a:lnTo>
                    <a:pt x="894" y="562"/>
                  </a:lnTo>
                  <a:lnTo>
                    <a:pt x="894" y="562"/>
                  </a:lnTo>
                  <a:lnTo>
                    <a:pt x="898" y="556"/>
                  </a:lnTo>
                  <a:lnTo>
                    <a:pt x="900" y="550"/>
                  </a:lnTo>
                  <a:lnTo>
                    <a:pt x="902" y="532"/>
                  </a:lnTo>
                  <a:lnTo>
                    <a:pt x="902" y="532"/>
                  </a:lnTo>
                  <a:lnTo>
                    <a:pt x="902" y="522"/>
                  </a:lnTo>
                  <a:lnTo>
                    <a:pt x="900" y="512"/>
                  </a:lnTo>
                  <a:lnTo>
                    <a:pt x="896" y="504"/>
                  </a:lnTo>
                  <a:lnTo>
                    <a:pt x="892" y="500"/>
                  </a:lnTo>
                  <a:lnTo>
                    <a:pt x="892" y="500"/>
                  </a:lnTo>
                  <a:lnTo>
                    <a:pt x="886" y="496"/>
                  </a:lnTo>
                  <a:lnTo>
                    <a:pt x="880" y="492"/>
                  </a:lnTo>
                  <a:lnTo>
                    <a:pt x="870" y="490"/>
                  </a:lnTo>
                  <a:lnTo>
                    <a:pt x="860" y="490"/>
                  </a:lnTo>
                  <a:lnTo>
                    <a:pt x="534" y="490"/>
                  </a:lnTo>
                  <a:lnTo>
                    <a:pt x="534" y="424"/>
                  </a:lnTo>
                  <a:lnTo>
                    <a:pt x="874" y="424"/>
                  </a:lnTo>
                  <a:lnTo>
                    <a:pt x="874" y="424"/>
                  </a:lnTo>
                  <a:lnTo>
                    <a:pt x="886" y="422"/>
                  </a:lnTo>
                  <a:lnTo>
                    <a:pt x="896" y="420"/>
                  </a:lnTo>
                  <a:lnTo>
                    <a:pt x="904" y="414"/>
                  </a:lnTo>
                  <a:lnTo>
                    <a:pt x="910" y="408"/>
                  </a:lnTo>
                  <a:lnTo>
                    <a:pt x="910" y="408"/>
                  </a:lnTo>
                  <a:lnTo>
                    <a:pt x="914" y="402"/>
                  </a:lnTo>
                  <a:lnTo>
                    <a:pt x="916" y="396"/>
                  </a:lnTo>
                  <a:lnTo>
                    <a:pt x="916" y="378"/>
                  </a:lnTo>
                  <a:lnTo>
                    <a:pt x="916" y="378"/>
                  </a:lnTo>
                  <a:lnTo>
                    <a:pt x="916" y="366"/>
                  </a:lnTo>
                  <a:lnTo>
                    <a:pt x="914" y="356"/>
                  </a:lnTo>
                  <a:lnTo>
                    <a:pt x="912" y="348"/>
                  </a:lnTo>
                  <a:lnTo>
                    <a:pt x="908" y="344"/>
                  </a:lnTo>
                  <a:lnTo>
                    <a:pt x="908" y="344"/>
                  </a:lnTo>
                  <a:lnTo>
                    <a:pt x="904" y="340"/>
                  </a:lnTo>
                  <a:lnTo>
                    <a:pt x="896" y="336"/>
                  </a:lnTo>
                  <a:lnTo>
                    <a:pt x="886" y="336"/>
                  </a:lnTo>
                  <a:lnTo>
                    <a:pt x="874" y="334"/>
                  </a:lnTo>
                  <a:lnTo>
                    <a:pt x="672" y="334"/>
                  </a:lnTo>
                  <a:lnTo>
                    <a:pt x="708" y="250"/>
                  </a:lnTo>
                  <a:lnTo>
                    <a:pt x="916" y="250"/>
                  </a:lnTo>
                  <a:lnTo>
                    <a:pt x="916" y="250"/>
                  </a:lnTo>
                  <a:lnTo>
                    <a:pt x="928" y="248"/>
                  </a:lnTo>
                  <a:lnTo>
                    <a:pt x="938" y="246"/>
                  </a:lnTo>
                  <a:lnTo>
                    <a:pt x="946" y="242"/>
                  </a:lnTo>
                  <a:lnTo>
                    <a:pt x="952" y="234"/>
                  </a:lnTo>
                  <a:lnTo>
                    <a:pt x="952" y="234"/>
                  </a:lnTo>
                  <a:lnTo>
                    <a:pt x="954" y="228"/>
                  </a:lnTo>
                  <a:lnTo>
                    <a:pt x="956" y="222"/>
                  </a:lnTo>
                  <a:lnTo>
                    <a:pt x="958" y="204"/>
                  </a:lnTo>
                  <a:lnTo>
                    <a:pt x="958" y="204"/>
                  </a:lnTo>
                  <a:lnTo>
                    <a:pt x="958" y="190"/>
                  </a:lnTo>
                  <a:lnTo>
                    <a:pt x="956" y="180"/>
                  </a:lnTo>
                  <a:lnTo>
                    <a:pt x="952" y="174"/>
                  </a:lnTo>
                  <a:lnTo>
                    <a:pt x="950" y="170"/>
                  </a:lnTo>
                  <a:lnTo>
                    <a:pt x="950" y="170"/>
                  </a:lnTo>
                  <a:lnTo>
                    <a:pt x="944" y="166"/>
                  </a:lnTo>
                  <a:lnTo>
                    <a:pt x="936" y="164"/>
                  </a:lnTo>
                  <a:lnTo>
                    <a:pt x="928" y="162"/>
                  </a:lnTo>
                  <a:lnTo>
                    <a:pt x="916" y="160"/>
                  </a:lnTo>
                  <a:lnTo>
                    <a:pt x="812" y="160"/>
                  </a:lnTo>
                  <a:lnTo>
                    <a:pt x="816" y="156"/>
                  </a:lnTo>
                  <a:lnTo>
                    <a:pt x="816" y="156"/>
                  </a:lnTo>
                  <a:lnTo>
                    <a:pt x="844" y="94"/>
                  </a:lnTo>
                  <a:lnTo>
                    <a:pt x="856" y="62"/>
                  </a:lnTo>
                  <a:lnTo>
                    <a:pt x="856" y="62"/>
                  </a:lnTo>
                  <a:lnTo>
                    <a:pt x="854" y="54"/>
                  </a:lnTo>
                  <a:lnTo>
                    <a:pt x="852" y="48"/>
                  </a:lnTo>
                  <a:lnTo>
                    <a:pt x="848" y="44"/>
                  </a:lnTo>
                  <a:lnTo>
                    <a:pt x="842" y="40"/>
                  </a:lnTo>
                  <a:lnTo>
                    <a:pt x="842" y="40"/>
                  </a:lnTo>
                  <a:lnTo>
                    <a:pt x="828" y="34"/>
                  </a:lnTo>
                  <a:lnTo>
                    <a:pt x="810" y="34"/>
                  </a:lnTo>
                  <a:lnTo>
                    <a:pt x="810" y="34"/>
                  </a:lnTo>
                  <a:lnTo>
                    <a:pt x="794" y="34"/>
                  </a:lnTo>
                  <a:lnTo>
                    <a:pt x="780" y="38"/>
                  </a:lnTo>
                  <a:lnTo>
                    <a:pt x="770" y="46"/>
                  </a:lnTo>
                  <a:lnTo>
                    <a:pt x="762" y="56"/>
                  </a:lnTo>
                  <a:lnTo>
                    <a:pt x="762" y="56"/>
                  </a:lnTo>
                  <a:lnTo>
                    <a:pt x="718" y="158"/>
                  </a:lnTo>
                  <a:lnTo>
                    <a:pt x="716" y="160"/>
                  </a:lnTo>
                  <a:lnTo>
                    <a:pt x="624" y="160"/>
                  </a:lnTo>
                  <a:lnTo>
                    <a:pt x="624" y="42"/>
                  </a:lnTo>
                  <a:lnTo>
                    <a:pt x="624" y="42"/>
                  </a:lnTo>
                  <a:lnTo>
                    <a:pt x="624" y="32"/>
                  </a:lnTo>
                  <a:lnTo>
                    <a:pt x="620" y="24"/>
                  </a:lnTo>
                  <a:lnTo>
                    <a:pt x="616" y="16"/>
                  </a:lnTo>
                  <a:lnTo>
                    <a:pt x="610" y="8"/>
                  </a:lnTo>
                  <a:lnTo>
                    <a:pt x="610" y="8"/>
                  </a:lnTo>
                  <a:lnTo>
                    <a:pt x="604" y="4"/>
                  </a:lnTo>
                  <a:lnTo>
                    <a:pt x="596" y="2"/>
                  </a:lnTo>
                  <a:lnTo>
                    <a:pt x="586" y="0"/>
                  </a:lnTo>
                  <a:lnTo>
                    <a:pt x="574" y="0"/>
                  </a:lnTo>
                  <a:lnTo>
                    <a:pt x="574" y="0"/>
                  </a:lnTo>
                  <a:lnTo>
                    <a:pt x="562" y="0"/>
                  </a:lnTo>
                  <a:lnTo>
                    <a:pt x="552" y="2"/>
                  </a:lnTo>
                  <a:lnTo>
                    <a:pt x="542" y="4"/>
                  </a:lnTo>
                  <a:lnTo>
                    <a:pt x="536" y="8"/>
                  </a:lnTo>
                  <a:lnTo>
                    <a:pt x="536" y="8"/>
                  </a:lnTo>
                  <a:lnTo>
                    <a:pt x="530" y="16"/>
                  </a:lnTo>
                  <a:lnTo>
                    <a:pt x="526" y="24"/>
                  </a:lnTo>
                  <a:lnTo>
                    <a:pt x="524" y="34"/>
                  </a:lnTo>
                  <a:lnTo>
                    <a:pt x="524" y="42"/>
                  </a:lnTo>
                  <a:lnTo>
                    <a:pt x="524" y="160"/>
                  </a:lnTo>
                  <a:lnTo>
                    <a:pt x="428" y="160"/>
                  </a:lnTo>
                  <a:lnTo>
                    <a:pt x="428" y="42"/>
                  </a:lnTo>
                  <a:lnTo>
                    <a:pt x="428" y="42"/>
                  </a:lnTo>
                  <a:lnTo>
                    <a:pt x="426" y="32"/>
                  </a:lnTo>
                  <a:lnTo>
                    <a:pt x="424" y="24"/>
                  </a:lnTo>
                  <a:lnTo>
                    <a:pt x="420" y="16"/>
                  </a:lnTo>
                  <a:lnTo>
                    <a:pt x="414" y="8"/>
                  </a:lnTo>
                  <a:lnTo>
                    <a:pt x="414" y="8"/>
                  </a:lnTo>
                  <a:lnTo>
                    <a:pt x="406" y="4"/>
                  </a:lnTo>
                  <a:lnTo>
                    <a:pt x="398" y="2"/>
                  </a:lnTo>
                  <a:lnTo>
                    <a:pt x="388" y="0"/>
                  </a:lnTo>
                  <a:lnTo>
                    <a:pt x="378" y="0"/>
                  </a:lnTo>
                  <a:lnTo>
                    <a:pt x="378" y="0"/>
                  </a:lnTo>
                  <a:lnTo>
                    <a:pt x="364" y="0"/>
                  </a:lnTo>
                  <a:lnTo>
                    <a:pt x="354" y="2"/>
                  </a:lnTo>
                  <a:lnTo>
                    <a:pt x="346" y="4"/>
                  </a:lnTo>
                  <a:lnTo>
                    <a:pt x="340" y="8"/>
                  </a:lnTo>
                  <a:lnTo>
                    <a:pt x="340" y="8"/>
                  </a:lnTo>
                  <a:lnTo>
                    <a:pt x="334" y="16"/>
                  </a:lnTo>
                  <a:lnTo>
                    <a:pt x="330" y="24"/>
                  </a:lnTo>
                  <a:lnTo>
                    <a:pt x="328" y="34"/>
                  </a:lnTo>
                  <a:lnTo>
                    <a:pt x="326" y="42"/>
                  </a:lnTo>
                  <a:lnTo>
                    <a:pt x="326" y="160"/>
                  </a:lnTo>
                  <a:lnTo>
                    <a:pt x="254" y="160"/>
                  </a:lnTo>
                  <a:lnTo>
                    <a:pt x="254" y="158"/>
                  </a:lnTo>
                  <a:lnTo>
                    <a:pt x="254" y="158"/>
                  </a:lnTo>
                  <a:lnTo>
                    <a:pt x="250" y="142"/>
                  </a:lnTo>
                  <a:lnTo>
                    <a:pt x="242" y="124"/>
                  </a:lnTo>
                  <a:lnTo>
                    <a:pt x="228" y="102"/>
                  </a:lnTo>
                  <a:lnTo>
                    <a:pt x="210" y="76"/>
                  </a:lnTo>
                  <a:lnTo>
                    <a:pt x="210" y="76"/>
                  </a:lnTo>
                  <a:lnTo>
                    <a:pt x="192" y="54"/>
                  </a:lnTo>
                  <a:lnTo>
                    <a:pt x="176" y="40"/>
                  </a:lnTo>
                  <a:lnTo>
                    <a:pt x="176" y="40"/>
                  </a:lnTo>
                  <a:lnTo>
                    <a:pt x="166" y="36"/>
                  </a:lnTo>
                  <a:lnTo>
                    <a:pt x="154" y="34"/>
                  </a:lnTo>
                  <a:lnTo>
                    <a:pt x="154" y="34"/>
                  </a:lnTo>
                  <a:lnTo>
                    <a:pt x="138" y="34"/>
                  </a:lnTo>
                  <a:lnTo>
                    <a:pt x="126" y="40"/>
                  </a:lnTo>
                  <a:lnTo>
                    <a:pt x="126" y="40"/>
                  </a:lnTo>
                  <a:lnTo>
                    <a:pt x="118" y="46"/>
                  </a:lnTo>
                  <a:lnTo>
                    <a:pt x="112" y="52"/>
                  </a:lnTo>
                  <a:lnTo>
                    <a:pt x="110" y="62"/>
                  </a:lnTo>
                  <a:lnTo>
                    <a:pt x="108" y="70"/>
                  </a:lnTo>
                  <a:lnTo>
                    <a:pt x="108" y="70"/>
                  </a:lnTo>
                  <a:lnTo>
                    <a:pt x="110" y="80"/>
                  </a:lnTo>
                  <a:lnTo>
                    <a:pt x="116" y="90"/>
                  </a:lnTo>
                  <a:lnTo>
                    <a:pt x="116" y="90"/>
                  </a:lnTo>
                  <a:lnTo>
                    <a:pt x="138" y="122"/>
                  </a:lnTo>
                  <a:lnTo>
                    <a:pt x="158" y="156"/>
                  </a:lnTo>
                  <a:lnTo>
                    <a:pt x="160" y="160"/>
                  </a:lnTo>
                  <a:lnTo>
                    <a:pt x="42" y="160"/>
                  </a:lnTo>
                  <a:lnTo>
                    <a:pt x="42" y="160"/>
                  </a:lnTo>
                  <a:lnTo>
                    <a:pt x="32" y="162"/>
                  </a:lnTo>
                  <a:lnTo>
                    <a:pt x="24" y="164"/>
                  </a:lnTo>
                  <a:lnTo>
                    <a:pt x="16" y="166"/>
                  </a:lnTo>
                  <a:lnTo>
                    <a:pt x="10" y="170"/>
                  </a:lnTo>
                  <a:lnTo>
                    <a:pt x="10" y="170"/>
                  </a:lnTo>
                  <a:lnTo>
                    <a:pt x="6" y="176"/>
                  </a:lnTo>
                  <a:lnTo>
                    <a:pt x="2" y="184"/>
                  </a:lnTo>
                  <a:lnTo>
                    <a:pt x="0" y="192"/>
                  </a:lnTo>
                  <a:lnTo>
                    <a:pt x="0" y="204"/>
                  </a:lnTo>
                  <a:lnTo>
                    <a:pt x="0" y="204"/>
                  </a:lnTo>
                  <a:lnTo>
                    <a:pt x="0" y="216"/>
                  </a:lnTo>
                  <a:lnTo>
                    <a:pt x="2" y="224"/>
                  </a:lnTo>
                  <a:lnTo>
                    <a:pt x="6" y="232"/>
                  </a:lnTo>
                  <a:lnTo>
                    <a:pt x="10" y="238"/>
                  </a:lnTo>
                  <a:lnTo>
                    <a:pt x="10" y="238"/>
                  </a:lnTo>
                  <a:lnTo>
                    <a:pt x="16" y="244"/>
                  </a:lnTo>
                  <a:lnTo>
                    <a:pt x="24" y="246"/>
                  </a:lnTo>
                  <a:lnTo>
                    <a:pt x="32" y="248"/>
                  </a:lnTo>
                  <a:lnTo>
                    <a:pt x="42" y="250"/>
                  </a:lnTo>
                  <a:lnTo>
                    <a:pt x="242" y="250"/>
                  </a:lnTo>
                  <a:lnTo>
                    <a:pt x="272" y="334"/>
                  </a:lnTo>
                  <a:lnTo>
                    <a:pt x="80" y="334"/>
                  </a:lnTo>
                  <a:lnTo>
                    <a:pt x="80" y="334"/>
                  </a:lnTo>
                  <a:lnTo>
                    <a:pt x="70" y="336"/>
                  </a:lnTo>
                  <a:lnTo>
                    <a:pt x="60" y="336"/>
                  </a:lnTo>
                  <a:lnTo>
                    <a:pt x="54" y="340"/>
                  </a:lnTo>
                  <a:lnTo>
                    <a:pt x="48" y="344"/>
                  </a:lnTo>
                  <a:lnTo>
                    <a:pt x="48" y="344"/>
                  </a:lnTo>
                  <a:lnTo>
                    <a:pt x="44" y="350"/>
                  </a:lnTo>
                  <a:lnTo>
                    <a:pt x="40" y="358"/>
                  </a:lnTo>
                  <a:lnTo>
                    <a:pt x="38" y="366"/>
                  </a:lnTo>
                  <a:lnTo>
                    <a:pt x="38" y="378"/>
                  </a:lnTo>
                  <a:lnTo>
                    <a:pt x="38" y="378"/>
                  </a:lnTo>
                  <a:lnTo>
                    <a:pt x="38" y="388"/>
                  </a:lnTo>
                  <a:lnTo>
                    <a:pt x="40" y="398"/>
                  </a:lnTo>
                  <a:lnTo>
                    <a:pt x="44" y="406"/>
                  </a:lnTo>
                  <a:lnTo>
                    <a:pt x="48" y="412"/>
                  </a:lnTo>
                  <a:lnTo>
                    <a:pt x="48" y="412"/>
                  </a:lnTo>
                  <a:lnTo>
                    <a:pt x="54" y="418"/>
                  </a:lnTo>
                  <a:lnTo>
                    <a:pt x="62" y="420"/>
                  </a:lnTo>
                  <a:lnTo>
                    <a:pt x="70" y="422"/>
                  </a:lnTo>
                  <a:lnTo>
                    <a:pt x="80" y="424"/>
                  </a:lnTo>
                  <a:lnTo>
                    <a:pt x="434" y="424"/>
                  </a:lnTo>
                  <a:lnTo>
                    <a:pt x="434" y="490"/>
                  </a:lnTo>
                  <a:lnTo>
                    <a:pt x="90" y="490"/>
                  </a:lnTo>
                  <a:lnTo>
                    <a:pt x="90" y="490"/>
                  </a:lnTo>
                  <a:lnTo>
                    <a:pt x="82" y="490"/>
                  </a:lnTo>
                  <a:lnTo>
                    <a:pt x="72" y="492"/>
                  </a:lnTo>
                  <a:lnTo>
                    <a:pt x="66" y="496"/>
                  </a:lnTo>
                  <a:lnTo>
                    <a:pt x="58" y="500"/>
                  </a:lnTo>
                  <a:lnTo>
                    <a:pt x="58" y="500"/>
                  </a:lnTo>
                  <a:lnTo>
                    <a:pt x="54" y="506"/>
                  </a:lnTo>
                  <a:lnTo>
                    <a:pt x="52" y="514"/>
                  </a:lnTo>
                  <a:lnTo>
                    <a:pt x="50" y="522"/>
                  </a:lnTo>
                  <a:lnTo>
                    <a:pt x="48" y="532"/>
                  </a:lnTo>
                  <a:lnTo>
                    <a:pt x="48" y="532"/>
                  </a:lnTo>
                  <a:lnTo>
                    <a:pt x="50" y="544"/>
                  </a:lnTo>
                  <a:lnTo>
                    <a:pt x="52" y="552"/>
                  </a:lnTo>
                  <a:lnTo>
                    <a:pt x="54" y="560"/>
                  </a:lnTo>
                  <a:lnTo>
                    <a:pt x="58" y="566"/>
                  </a:lnTo>
                  <a:lnTo>
                    <a:pt x="58" y="566"/>
                  </a:lnTo>
                  <a:lnTo>
                    <a:pt x="66" y="570"/>
                  </a:lnTo>
                  <a:lnTo>
                    <a:pt x="72" y="572"/>
                  </a:lnTo>
                  <a:lnTo>
                    <a:pt x="80" y="574"/>
                  </a:lnTo>
                  <a:lnTo>
                    <a:pt x="90" y="574"/>
                  </a:lnTo>
                  <a:lnTo>
                    <a:pt x="434" y="574"/>
                  </a:lnTo>
                  <a:lnTo>
                    <a:pt x="434" y="644"/>
                  </a:lnTo>
                  <a:lnTo>
                    <a:pt x="50" y="644"/>
                  </a:lnTo>
                  <a:lnTo>
                    <a:pt x="50" y="644"/>
                  </a:lnTo>
                  <a:lnTo>
                    <a:pt x="40" y="644"/>
                  </a:lnTo>
                  <a:lnTo>
                    <a:pt x="32" y="646"/>
                  </a:lnTo>
                  <a:lnTo>
                    <a:pt x="24" y="648"/>
                  </a:lnTo>
                  <a:lnTo>
                    <a:pt x="18" y="652"/>
                  </a:lnTo>
                  <a:lnTo>
                    <a:pt x="18" y="652"/>
                  </a:lnTo>
                  <a:lnTo>
                    <a:pt x="12" y="658"/>
                  </a:lnTo>
                  <a:lnTo>
                    <a:pt x="10" y="666"/>
                  </a:lnTo>
                  <a:lnTo>
                    <a:pt x="8" y="676"/>
                  </a:lnTo>
                  <a:lnTo>
                    <a:pt x="8" y="686"/>
                  </a:lnTo>
                  <a:lnTo>
                    <a:pt x="8" y="686"/>
                  </a:lnTo>
                  <a:lnTo>
                    <a:pt x="8" y="698"/>
                  </a:lnTo>
                  <a:lnTo>
                    <a:pt x="10" y="708"/>
                  </a:lnTo>
                  <a:lnTo>
                    <a:pt x="14" y="716"/>
                  </a:lnTo>
                  <a:lnTo>
                    <a:pt x="18" y="722"/>
                  </a:lnTo>
                  <a:lnTo>
                    <a:pt x="18" y="722"/>
                  </a:lnTo>
                  <a:lnTo>
                    <a:pt x="24" y="726"/>
                  </a:lnTo>
                  <a:lnTo>
                    <a:pt x="32" y="730"/>
                  </a:lnTo>
                  <a:lnTo>
                    <a:pt x="40" y="732"/>
                  </a:lnTo>
                  <a:lnTo>
                    <a:pt x="50" y="732"/>
                  </a:lnTo>
                  <a:lnTo>
                    <a:pt x="328" y="732"/>
                  </a:lnTo>
                  <a:lnTo>
                    <a:pt x="314" y="740"/>
                  </a:lnTo>
                  <a:lnTo>
                    <a:pt x="314" y="740"/>
                  </a:lnTo>
                  <a:lnTo>
                    <a:pt x="238" y="776"/>
                  </a:lnTo>
                  <a:lnTo>
                    <a:pt x="238" y="776"/>
                  </a:lnTo>
                  <a:lnTo>
                    <a:pt x="182" y="800"/>
                  </a:lnTo>
                  <a:lnTo>
                    <a:pt x="126" y="820"/>
                  </a:lnTo>
                  <a:lnTo>
                    <a:pt x="74" y="838"/>
                  </a:lnTo>
                  <a:lnTo>
                    <a:pt x="22" y="854"/>
                  </a:lnTo>
                  <a:lnTo>
                    <a:pt x="22" y="854"/>
                  </a:lnTo>
                  <a:lnTo>
                    <a:pt x="14" y="862"/>
                  </a:lnTo>
                  <a:lnTo>
                    <a:pt x="6" y="870"/>
                  </a:lnTo>
                  <a:lnTo>
                    <a:pt x="2" y="878"/>
                  </a:lnTo>
                  <a:lnTo>
                    <a:pt x="0" y="888"/>
                  </a:lnTo>
                  <a:lnTo>
                    <a:pt x="0" y="888"/>
                  </a:lnTo>
                  <a:lnTo>
                    <a:pt x="0" y="898"/>
                  </a:lnTo>
                  <a:lnTo>
                    <a:pt x="2" y="908"/>
                  </a:lnTo>
                  <a:lnTo>
                    <a:pt x="6" y="918"/>
                  </a:lnTo>
                  <a:lnTo>
                    <a:pt x="12" y="926"/>
                  </a:lnTo>
                  <a:lnTo>
                    <a:pt x="12" y="926"/>
                  </a:lnTo>
                  <a:lnTo>
                    <a:pt x="22" y="936"/>
                  </a:lnTo>
                  <a:lnTo>
                    <a:pt x="34" y="942"/>
                  </a:lnTo>
                  <a:lnTo>
                    <a:pt x="46" y="946"/>
                  </a:lnTo>
                  <a:lnTo>
                    <a:pt x="58" y="948"/>
                  </a:lnTo>
                  <a:lnTo>
                    <a:pt x="58" y="948"/>
                  </a:lnTo>
                  <a:lnTo>
                    <a:pt x="74" y="946"/>
                  </a:lnTo>
                  <a:lnTo>
                    <a:pt x="88" y="944"/>
                  </a:lnTo>
                  <a:lnTo>
                    <a:pt x="104" y="940"/>
                  </a:lnTo>
                  <a:lnTo>
                    <a:pt x="120" y="934"/>
                  </a:lnTo>
                  <a:lnTo>
                    <a:pt x="120" y="934"/>
                  </a:lnTo>
                  <a:lnTo>
                    <a:pt x="170" y="916"/>
                  </a:lnTo>
                  <a:lnTo>
                    <a:pt x="214" y="894"/>
                  </a:lnTo>
                  <a:lnTo>
                    <a:pt x="214" y="894"/>
                  </a:lnTo>
                  <a:lnTo>
                    <a:pt x="266" y="868"/>
                  </a:lnTo>
                  <a:lnTo>
                    <a:pt x="318" y="838"/>
                  </a:lnTo>
                  <a:lnTo>
                    <a:pt x="368" y="806"/>
                  </a:lnTo>
                  <a:lnTo>
                    <a:pt x="418" y="772"/>
                  </a:lnTo>
                  <a:lnTo>
                    <a:pt x="418" y="772"/>
                  </a:lnTo>
                  <a:lnTo>
                    <a:pt x="428" y="764"/>
                  </a:lnTo>
                  <a:lnTo>
                    <a:pt x="434" y="758"/>
                  </a:lnTo>
                  <a:lnTo>
                    <a:pt x="434" y="910"/>
                  </a:lnTo>
                  <a:lnTo>
                    <a:pt x="434" y="910"/>
                  </a:lnTo>
                  <a:lnTo>
                    <a:pt x="434" y="922"/>
                  </a:lnTo>
                  <a:lnTo>
                    <a:pt x="436" y="932"/>
                  </a:lnTo>
                  <a:lnTo>
                    <a:pt x="440" y="940"/>
                  </a:lnTo>
                  <a:lnTo>
                    <a:pt x="444" y="946"/>
                  </a:lnTo>
                  <a:close/>
                  <a:moveTo>
                    <a:pt x="382" y="334"/>
                  </a:moveTo>
                  <a:lnTo>
                    <a:pt x="350" y="250"/>
                  </a:lnTo>
                  <a:lnTo>
                    <a:pt x="600" y="250"/>
                  </a:lnTo>
                  <a:lnTo>
                    <a:pt x="562" y="334"/>
                  </a:lnTo>
                  <a:lnTo>
                    <a:pt x="382" y="334"/>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22" name="Freeform 15"/>
            <p:cNvSpPr>
              <a:spLocks/>
            </p:cNvSpPr>
            <p:nvPr/>
          </p:nvSpPr>
          <p:spPr bwMode="auto">
            <a:xfrm>
              <a:off x="6537536" y="2429247"/>
              <a:ext cx="693831" cy="459511"/>
            </a:xfrm>
            <a:custGeom>
              <a:avLst/>
              <a:gdLst>
                <a:gd name="T0" fmla="*/ 440 w 912"/>
                <a:gd name="T1" fmla="*/ 596 h 604"/>
                <a:gd name="T2" fmla="*/ 472 w 912"/>
                <a:gd name="T3" fmla="*/ 604 h 604"/>
                <a:gd name="T4" fmla="*/ 496 w 912"/>
                <a:gd name="T5" fmla="*/ 600 h 604"/>
                <a:gd name="T6" fmla="*/ 512 w 912"/>
                <a:gd name="T7" fmla="*/ 590 h 604"/>
                <a:gd name="T8" fmla="*/ 524 w 912"/>
                <a:gd name="T9" fmla="*/ 566 h 604"/>
                <a:gd name="T10" fmla="*/ 528 w 912"/>
                <a:gd name="T11" fmla="*/ 130 h 604"/>
                <a:gd name="T12" fmla="*/ 730 w 912"/>
                <a:gd name="T13" fmla="*/ 112 h 604"/>
                <a:gd name="T14" fmla="*/ 892 w 912"/>
                <a:gd name="T15" fmla="*/ 88 h 604"/>
                <a:gd name="T16" fmla="*/ 912 w 912"/>
                <a:gd name="T17" fmla="*/ 60 h 604"/>
                <a:gd name="T18" fmla="*/ 912 w 912"/>
                <a:gd name="T19" fmla="*/ 38 h 604"/>
                <a:gd name="T20" fmla="*/ 900 w 912"/>
                <a:gd name="T21" fmla="*/ 14 h 604"/>
                <a:gd name="T22" fmla="*/ 884 w 912"/>
                <a:gd name="T23" fmla="*/ 4 h 604"/>
                <a:gd name="T24" fmla="*/ 868 w 912"/>
                <a:gd name="T25" fmla="*/ 0 h 604"/>
                <a:gd name="T26" fmla="*/ 830 w 912"/>
                <a:gd name="T27" fmla="*/ 2 h 604"/>
                <a:gd name="T28" fmla="*/ 540 w 912"/>
                <a:gd name="T29" fmla="*/ 38 h 604"/>
                <a:gd name="T30" fmla="*/ 348 w 912"/>
                <a:gd name="T31" fmla="*/ 50 h 604"/>
                <a:gd name="T32" fmla="*/ 84 w 912"/>
                <a:gd name="T33" fmla="*/ 58 h 604"/>
                <a:gd name="T34" fmla="*/ 64 w 912"/>
                <a:gd name="T35" fmla="*/ 60 h 604"/>
                <a:gd name="T36" fmla="*/ 44 w 912"/>
                <a:gd name="T37" fmla="*/ 72 h 604"/>
                <a:gd name="T38" fmla="*/ 38 w 912"/>
                <a:gd name="T39" fmla="*/ 96 h 604"/>
                <a:gd name="T40" fmla="*/ 40 w 912"/>
                <a:gd name="T41" fmla="*/ 118 h 604"/>
                <a:gd name="T42" fmla="*/ 48 w 912"/>
                <a:gd name="T43" fmla="*/ 134 h 604"/>
                <a:gd name="T44" fmla="*/ 74 w 912"/>
                <a:gd name="T45" fmla="*/ 150 h 604"/>
                <a:gd name="T46" fmla="*/ 152 w 912"/>
                <a:gd name="T47" fmla="*/ 150 h 604"/>
                <a:gd name="T48" fmla="*/ 154 w 912"/>
                <a:gd name="T49" fmla="*/ 156 h 604"/>
                <a:gd name="T50" fmla="*/ 142 w 912"/>
                <a:gd name="T51" fmla="*/ 176 h 604"/>
                <a:gd name="T52" fmla="*/ 140 w 912"/>
                <a:gd name="T53" fmla="*/ 268 h 604"/>
                <a:gd name="T54" fmla="*/ 124 w 912"/>
                <a:gd name="T55" fmla="*/ 360 h 604"/>
                <a:gd name="T56" fmla="*/ 96 w 912"/>
                <a:gd name="T57" fmla="*/ 406 h 604"/>
                <a:gd name="T58" fmla="*/ 16 w 912"/>
                <a:gd name="T59" fmla="*/ 482 h 604"/>
                <a:gd name="T60" fmla="*/ 4 w 912"/>
                <a:gd name="T61" fmla="*/ 498 h 604"/>
                <a:gd name="T62" fmla="*/ 0 w 912"/>
                <a:gd name="T63" fmla="*/ 516 h 604"/>
                <a:gd name="T64" fmla="*/ 14 w 912"/>
                <a:gd name="T65" fmla="*/ 548 h 604"/>
                <a:gd name="T66" fmla="*/ 32 w 912"/>
                <a:gd name="T67" fmla="*/ 562 h 604"/>
                <a:gd name="T68" fmla="*/ 60 w 912"/>
                <a:gd name="T69" fmla="*/ 570 h 604"/>
                <a:gd name="T70" fmla="*/ 82 w 912"/>
                <a:gd name="T71" fmla="*/ 564 h 604"/>
                <a:gd name="T72" fmla="*/ 102 w 912"/>
                <a:gd name="T73" fmla="*/ 550 h 604"/>
                <a:gd name="T74" fmla="*/ 168 w 912"/>
                <a:gd name="T75" fmla="*/ 470 h 604"/>
                <a:gd name="T76" fmla="*/ 194 w 912"/>
                <a:gd name="T77" fmla="*/ 432 h 604"/>
                <a:gd name="T78" fmla="*/ 204 w 912"/>
                <a:gd name="T79" fmla="*/ 432 h 604"/>
                <a:gd name="T80" fmla="*/ 238 w 912"/>
                <a:gd name="T81" fmla="*/ 476 h 604"/>
                <a:gd name="T82" fmla="*/ 310 w 912"/>
                <a:gd name="T83" fmla="*/ 554 h 604"/>
                <a:gd name="T84" fmla="*/ 326 w 912"/>
                <a:gd name="T85" fmla="*/ 562 h 604"/>
                <a:gd name="T86" fmla="*/ 342 w 912"/>
                <a:gd name="T87" fmla="*/ 566 h 604"/>
                <a:gd name="T88" fmla="*/ 374 w 912"/>
                <a:gd name="T89" fmla="*/ 560 h 604"/>
                <a:gd name="T90" fmla="*/ 390 w 912"/>
                <a:gd name="T91" fmla="*/ 544 h 604"/>
                <a:gd name="T92" fmla="*/ 400 w 912"/>
                <a:gd name="T93" fmla="*/ 512 h 604"/>
                <a:gd name="T94" fmla="*/ 398 w 912"/>
                <a:gd name="T95" fmla="*/ 496 h 604"/>
                <a:gd name="T96" fmla="*/ 390 w 912"/>
                <a:gd name="T97" fmla="*/ 482 h 604"/>
                <a:gd name="T98" fmla="*/ 296 w 912"/>
                <a:gd name="T99" fmla="*/ 410 h 604"/>
                <a:gd name="T100" fmla="*/ 262 w 912"/>
                <a:gd name="T101" fmla="*/ 368 h 604"/>
                <a:gd name="T102" fmla="*/ 246 w 912"/>
                <a:gd name="T103" fmla="*/ 324 h 604"/>
                <a:gd name="T104" fmla="*/ 242 w 912"/>
                <a:gd name="T105" fmla="*/ 186 h 604"/>
                <a:gd name="T106" fmla="*/ 238 w 912"/>
                <a:gd name="T107" fmla="*/ 166 h 604"/>
                <a:gd name="T108" fmla="*/ 220 w 912"/>
                <a:gd name="T109" fmla="*/ 148 h 604"/>
                <a:gd name="T110" fmla="*/ 322 w 912"/>
                <a:gd name="T111" fmla="*/ 144 h 604"/>
                <a:gd name="T112" fmla="*/ 422 w 912"/>
                <a:gd name="T113" fmla="*/ 554 h 604"/>
                <a:gd name="T114" fmla="*/ 424 w 912"/>
                <a:gd name="T115" fmla="*/ 57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2" h="604">
                  <a:moveTo>
                    <a:pt x="434" y="590"/>
                  </a:moveTo>
                  <a:lnTo>
                    <a:pt x="434" y="590"/>
                  </a:lnTo>
                  <a:lnTo>
                    <a:pt x="440" y="596"/>
                  </a:lnTo>
                  <a:lnTo>
                    <a:pt x="450" y="600"/>
                  </a:lnTo>
                  <a:lnTo>
                    <a:pt x="460" y="604"/>
                  </a:lnTo>
                  <a:lnTo>
                    <a:pt x="472" y="604"/>
                  </a:lnTo>
                  <a:lnTo>
                    <a:pt x="472" y="604"/>
                  </a:lnTo>
                  <a:lnTo>
                    <a:pt x="484" y="604"/>
                  </a:lnTo>
                  <a:lnTo>
                    <a:pt x="496" y="600"/>
                  </a:lnTo>
                  <a:lnTo>
                    <a:pt x="506" y="596"/>
                  </a:lnTo>
                  <a:lnTo>
                    <a:pt x="512" y="590"/>
                  </a:lnTo>
                  <a:lnTo>
                    <a:pt x="512" y="590"/>
                  </a:lnTo>
                  <a:lnTo>
                    <a:pt x="518" y="584"/>
                  </a:lnTo>
                  <a:lnTo>
                    <a:pt x="522" y="576"/>
                  </a:lnTo>
                  <a:lnTo>
                    <a:pt x="524" y="566"/>
                  </a:lnTo>
                  <a:lnTo>
                    <a:pt x="526" y="554"/>
                  </a:lnTo>
                  <a:lnTo>
                    <a:pt x="526" y="130"/>
                  </a:lnTo>
                  <a:lnTo>
                    <a:pt x="528" y="130"/>
                  </a:lnTo>
                  <a:lnTo>
                    <a:pt x="528" y="130"/>
                  </a:lnTo>
                  <a:lnTo>
                    <a:pt x="634" y="122"/>
                  </a:lnTo>
                  <a:lnTo>
                    <a:pt x="730" y="112"/>
                  </a:lnTo>
                  <a:lnTo>
                    <a:pt x="816" y="100"/>
                  </a:lnTo>
                  <a:lnTo>
                    <a:pt x="892" y="88"/>
                  </a:lnTo>
                  <a:lnTo>
                    <a:pt x="892" y="88"/>
                  </a:lnTo>
                  <a:lnTo>
                    <a:pt x="900" y="82"/>
                  </a:lnTo>
                  <a:lnTo>
                    <a:pt x="908" y="72"/>
                  </a:lnTo>
                  <a:lnTo>
                    <a:pt x="912" y="60"/>
                  </a:lnTo>
                  <a:lnTo>
                    <a:pt x="912" y="46"/>
                  </a:lnTo>
                  <a:lnTo>
                    <a:pt x="912" y="46"/>
                  </a:lnTo>
                  <a:lnTo>
                    <a:pt x="912" y="38"/>
                  </a:lnTo>
                  <a:lnTo>
                    <a:pt x="910" y="30"/>
                  </a:lnTo>
                  <a:lnTo>
                    <a:pt x="906" y="22"/>
                  </a:lnTo>
                  <a:lnTo>
                    <a:pt x="900" y="14"/>
                  </a:lnTo>
                  <a:lnTo>
                    <a:pt x="900" y="14"/>
                  </a:lnTo>
                  <a:lnTo>
                    <a:pt x="892" y="8"/>
                  </a:lnTo>
                  <a:lnTo>
                    <a:pt x="884" y="4"/>
                  </a:lnTo>
                  <a:lnTo>
                    <a:pt x="876" y="0"/>
                  </a:lnTo>
                  <a:lnTo>
                    <a:pt x="868" y="0"/>
                  </a:lnTo>
                  <a:lnTo>
                    <a:pt x="868" y="0"/>
                  </a:lnTo>
                  <a:lnTo>
                    <a:pt x="850" y="0"/>
                  </a:lnTo>
                  <a:lnTo>
                    <a:pt x="830" y="2"/>
                  </a:lnTo>
                  <a:lnTo>
                    <a:pt x="830" y="2"/>
                  </a:lnTo>
                  <a:lnTo>
                    <a:pt x="738" y="16"/>
                  </a:lnTo>
                  <a:lnTo>
                    <a:pt x="642" y="28"/>
                  </a:lnTo>
                  <a:lnTo>
                    <a:pt x="540" y="38"/>
                  </a:lnTo>
                  <a:lnTo>
                    <a:pt x="432" y="44"/>
                  </a:lnTo>
                  <a:lnTo>
                    <a:pt x="432" y="44"/>
                  </a:lnTo>
                  <a:lnTo>
                    <a:pt x="348" y="50"/>
                  </a:lnTo>
                  <a:lnTo>
                    <a:pt x="262" y="54"/>
                  </a:lnTo>
                  <a:lnTo>
                    <a:pt x="174" y="56"/>
                  </a:lnTo>
                  <a:lnTo>
                    <a:pt x="84" y="58"/>
                  </a:lnTo>
                  <a:lnTo>
                    <a:pt x="84" y="58"/>
                  </a:lnTo>
                  <a:lnTo>
                    <a:pt x="72" y="58"/>
                  </a:lnTo>
                  <a:lnTo>
                    <a:pt x="64" y="60"/>
                  </a:lnTo>
                  <a:lnTo>
                    <a:pt x="56" y="64"/>
                  </a:lnTo>
                  <a:lnTo>
                    <a:pt x="48" y="68"/>
                  </a:lnTo>
                  <a:lnTo>
                    <a:pt x="44" y="72"/>
                  </a:lnTo>
                  <a:lnTo>
                    <a:pt x="40" y="78"/>
                  </a:lnTo>
                  <a:lnTo>
                    <a:pt x="38" y="86"/>
                  </a:lnTo>
                  <a:lnTo>
                    <a:pt x="38" y="96"/>
                  </a:lnTo>
                  <a:lnTo>
                    <a:pt x="38" y="96"/>
                  </a:lnTo>
                  <a:lnTo>
                    <a:pt x="38" y="106"/>
                  </a:lnTo>
                  <a:lnTo>
                    <a:pt x="40" y="118"/>
                  </a:lnTo>
                  <a:lnTo>
                    <a:pt x="44" y="126"/>
                  </a:lnTo>
                  <a:lnTo>
                    <a:pt x="48" y="134"/>
                  </a:lnTo>
                  <a:lnTo>
                    <a:pt x="48" y="134"/>
                  </a:lnTo>
                  <a:lnTo>
                    <a:pt x="56" y="140"/>
                  </a:lnTo>
                  <a:lnTo>
                    <a:pt x="64" y="146"/>
                  </a:lnTo>
                  <a:lnTo>
                    <a:pt x="74" y="150"/>
                  </a:lnTo>
                  <a:lnTo>
                    <a:pt x="88" y="150"/>
                  </a:lnTo>
                  <a:lnTo>
                    <a:pt x="88" y="150"/>
                  </a:lnTo>
                  <a:lnTo>
                    <a:pt x="152" y="150"/>
                  </a:lnTo>
                  <a:lnTo>
                    <a:pt x="162" y="150"/>
                  </a:lnTo>
                  <a:lnTo>
                    <a:pt x="154" y="156"/>
                  </a:lnTo>
                  <a:lnTo>
                    <a:pt x="154" y="156"/>
                  </a:lnTo>
                  <a:lnTo>
                    <a:pt x="148" y="162"/>
                  </a:lnTo>
                  <a:lnTo>
                    <a:pt x="144" y="168"/>
                  </a:lnTo>
                  <a:lnTo>
                    <a:pt x="142" y="176"/>
                  </a:lnTo>
                  <a:lnTo>
                    <a:pt x="140" y="186"/>
                  </a:lnTo>
                  <a:lnTo>
                    <a:pt x="140" y="268"/>
                  </a:lnTo>
                  <a:lnTo>
                    <a:pt x="140" y="268"/>
                  </a:lnTo>
                  <a:lnTo>
                    <a:pt x="138" y="300"/>
                  </a:lnTo>
                  <a:lnTo>
                    <a:pt x="132" y="332"/>
                  </a:lnTo>
                  <a:lnTo>
                    <a:pt x="124" y="360"/>
                  </a:lnTo>
                  <a:lnTo>
                    <a:pt x="112" y="384"/>
                  </a:lnTo>
                  <a:lnTo>
                    <a:pt x="112" y="384"/>
                  </a:lnTo>
                  <a:lnTo>
                    <a:pt x="96" y="406"/>
                  </a:lnTo>
                  <a:lnTo>
                    <a:pt x="76" y="430"/>
                  </a:lnTo>
                  <a:lnTo>
                    <a:pt x="48" y="456"/>
                  </a:lnTo>
                  <a:lnTo>
                    <a:pt x="16" y="482"/>
                  </a:lnTo>
                  <a:lnTo>
                    <a:pt x="16" y="482"/>
                  </a:lnTo>
                  <a:lnTo>
                    <a:pt x="10" y="488"/>
                  </a:lnTo>
                  <a:lnTo>
                    <a:pt x="4" y="498"/>
                  </a:lnTo>
                  <a:lnTo>
                    <a:pt x="2" y="506"/>
                  </a:lnTo>
                  <a:lnTo>
                    <a:pt x="0" y="516"/>
                  </a:lnTo>
                  <a:lnTo>
                    <a:pt x="0" y="516"/>
                  </a:lnTo>
                  <a:lnTo>
                    <a:pt x="2" y="528"/>
                  </a:lnTo>
                  <a:lnTo>
                    <a:pt x="6" y="538"/>
                  </a:lnTo>
                  <a:lnTo>
                    <a:pt x="14" y="548"/>
                  </a:lnTo>
                  <a:lnTo>
                    <a:pt x="24" y="558"/>
                  </a:lnTo>
                  <a:lnTo>
                    <a:pt x="24" y="558"/>
                  </a:lnTo>
                  <a:lnTo>
                    <a:pt x="32" y="562"/>
                  </a:lnTo>
                  <a:lnTo>
                    <a:pt x="40" y="566"/>
                  </a:lnTo>
                  <a:lnTo>
                    <a:pt x="50" y="570"/>
                  </a:lnTo>
                  <a:lnTo>
                    <a:pt x="60" y="570"/>
                  </a:lnTo>
                  <a:lnTo>
                    <a:pt x="60" y="570"/>
                  </a:lnTo>
                  <a:lnTo>
                    <a:pt x="72" y="568"/>
                  </a:lnTo>
                  <a:lnTo>
                    <a:pt x="82" y="564"/>
                  </a:lnTo>
                  <a:lnTo>
                    <a:pt x="92" y="558"/>
                  </a:lnTo>
                  <a:lnTo>
                    <a:pt x="102" y="550"/>
                  </a:lnTo>
                  <a:lnTo>
                    <a:pt x="102" y="550"/>
                  </a:lnTo>
                  <a:lnTo>
                    <a:pt x="126" y="526"/>
                  </a:lnTo>
                  <a:lnTo>
                    <a:pt x="148" y="500"/>
                  </a:lnTo>
                  <a:lnTo>
                    <a:pt x="168" y="470"/>
                  </a:lnTo>
                  <a:lnTo>
                    <a:pt x="188" y="438"/>
                  </a:lnTo>
                  <a:lnTo>
                    <a:pt x="188" y="438"/>
                  </a:lnTo>
                  <a:lnTo>
                    <a:pt x="194" y="432"/>
                  </a:lnTo>
                  <a:lnTo>
                    <a:pt x="200" y="430"/>
                  </a:lnTo>
                  <a:lnTo>
                    <a:pt x="200" y="430"/>
                  </a:lnTo>
                  <a:lnTo>
                    <a:pt x="204" y="432"/>
                  </a:lnTo>
                  <a:lnTo>
                    <a:pt x="210" y="438"/>
                  </a:lnTo>
                  <a:lnTo>
                    <a:pt x="210" y="438"/>
                  </a:lnTo>
                  <a:lnTo>
                    <a:pt x="238" y="476"/>
                  </a:lnTo>
                  <a:lnTo>
                    <a:pt x="266" y="510"/>
                  </a:lnTo>
                  <a:lnTo>
                    <a:pt x="290" y="534"/>
                  </a:lnTo>
                  <a:lnTo>
                    <a:pt x="310" y="554"/>
                  </a:lnTo>
                  <a:lnTo>
                    <a:pt x="310" y="554"/>
                  </a:lnTo>
                  <a:lnTo>
                    <a:pt x="318" y="558"/>
                  </a:lnTo>
                  <a:lnTo>
                    <a:pt x="326" y="562"/>
                  </a:lnTo>
                  <a:lnTo>
                    <a:pt x="334" y="566"/>
                  </a:lnTo>
                  <a:lnTo>
                    <a:pt x="342" y="566"/>
                  </a:lnTo>
                  <a:lnTo>
                    <a:pt x="342" y="566"/>
                  </a:lnTo>
                  <a:lnTo>
                    <a:pt x="354" y="566"/>
                  </a:lnTo>
                  <a:lnTo>
                    <a:pt x="366" y="562"/>
                  </a:lnTo>
                  <a:lnTo>
                    <a:pt x="374" y="560"/>
                  </a:lnTo>
                  <a:lnTo>
                    <a:pt x="382" y="554"/>
                  </a:lnTo>
                  <a:lnTo>
                    <a:pt x="382" y="554"/>
                  </a:lnTo>
                  <a:lnTo>
                    <a:pt x="390" y="544"/>
                  </a:lnTo>
                  <a:lnTo>
                    <a:pt x="396" y="534"/>
                  </a:lnTo>
                  <a:lnTo>
                    <a:pt x="400" y="522"/>
                  </a:lnTo>
                  <a:lnTo>
                    <a:pt x="400" y="512"/>
                  </a:lnTo>
                  <a:lnTo>
                    <a:pt x="400" y="512"/>
                  </a:lnTo>
                  <a:lnTo>
                    <a:pt x="400" y="504"/>
                  </a:lnTo>
                  <a:lnTo>
                    <a:pt x="398" y="496"/>
                  </a:lnTo>
                  <a:lnTo>
                    <a:pt x="394" y="488"/>
                  </a:lnTo>
                  <a:lnTo>
                    <a:pt x="390" y="482"/>
                  </a:lnTo>
                  <a:lnTo>
                    <a:pt x="390" y="482"/>
                  </a:lnTo>
                  <a:lnTo>
                    <a:pt x="348" y="452"/>
                  </a:lnTo>
                  <a:lnTo>
                    <a:pt x="312" y="424"/>
                  </a:lnTo>
                  <a:lnTo>
                    <a:pt x="296" y="410"/>
                  </a:lnTo>
                  <a:lnTo>
                    <a:pt x="284" y="396"/>
                  </a:lnTo>
                  <a:lnTo>
                    <a:pt x="272" y="380"/>
                  </a:lnTo>
                  <a:lnTo>
                    <a:pt x="262" y="368"/>
                  </a:lnTo>
                  <a:lnTo>
                    <a:pt x="262" y="368"/>
                  </a:lnTo>
                  <a:lnTo>
                    <a:pt x="252" y="346"/>
                  </a:lnTo>
                  <a:lnTo>
                    <a:pt x="246" y="324"/>
                  </a:lnTo>
                  <a:lnTo>
                    <a:pt x="242" y="298"/>
                  </a:lnTo>
                  <a:lnTo>
                    <a:pt x="242" y="270"/>
                  </a:lnTo>
                  <a:lnTo>
                    <a:pt x="242" y="186"/>
                  </a:lnTo>
                  <a:lnTo>
                    <a:pt x="242" y="186"/>
                  </a:lnTo>
                  <a:lnTo>
                    <a:pt x="240" y="174"/>
                  </a:lnTo>
                  <a:lnTo>
                    <a:pt x="238" y="166"/>
                  </a:lnTo>
                  <a:lnTo>
                    <a:pt x="234" y="158"/>
                  </a:lnTo>
                  <a:lnTo>
                    <a:pt x="230" y="154"/>
                  </a:lnTo>
                  <a:lnTo>
                    <a:pt x="220" y="148"/>
                  </a:lnTo>
                  <a:lnTo>
                    <a:pt x="232" y="148"/>
                  </a:lnTo>
                  <a:lnTo>
                    <a:pt x="232" y="148"/>
                  </a:lnTo>
                  <a:lnTo>
                    <a:pt x="322" y="144"/>
                  </a:lnTo>
                  <a:lnTo>
                    <a:pt x="418" y="138"/>
                  </a:lnTo>
                  <a:lnTo>
                    <a:pt x="422" y="138"/>
                  </a:lnTo>
                  <a:lnTo>
                    <a:pt x="422" y="554"/>
                  </a:lnTo>
                  <a:lnTo>
                    <a:pt x="422" y="554"/>
                  </a:lnTo>
                  <a:lnTo>
                    <a:pt x="422" y="566"/>
                  </a:lnTo>
                  <a:lnTo>
                    <a:pt x="424" y="576"/>
                  </a:lnTo>
                  <a:lnTo>
                    <a:pt x="428" y="584"/>
                  </a:lnTo>
                  <a:lnTo>
                    <a:pt x="434" y="590"/>
                  </a:lnTo>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sz="2400"/>
            </a:p>
          </p:txBody>
        </p:sp>
        <p:sp>
          <p:nvSpPr>
            <p:cNvPr id="23" name="Freeform 16"/>
            <p:cNvSpPr>
              <a:spLocks/>
            </p:cNvSpPr>
            <p:nvPr/>
          </p:nvSpPr>
          <p:spPr bwMode="auto">
            <a:xfrm>
              <a:off x="6946835" y="2538799"/>
              <a:ext cx="313441" cy="324092"/>
            </a:xfrm>
            <a:custGeom>
              <a:avLst/>
              <a:gdLst>
                <a:gd name="T0" fmla="*/ 22 w 412"/>
                <a:gd name="T1" fmla="*/ 414 h 426"/>
                <a:gd name="T2" fmla="*/ 38 w 412"/>
                <a:gd name="T3" fmla="*/ 422 h 426"/>
                <a:gd name="T4" fmla="*/ 60 w 412"/>
                <a:gd name="T5" fmla="*/ 426 h 426"/>
                <a:gd name="T6" fmla="*/ 70 w 412"/>
                <a:gd name="T7" fmla="*/ 424 h 426"/>
                <a:gd name="T8" fmla="*/ 92 w 412"/>
                <a:gd name="T9" fmla="*/ 414 h 426"/>
                <a:gd name="T10" fmla="*/ 104 w 412"/>
                <a:gd name="T11" fmla="*/ 406 h 426"/>
                <a:gd name="T12" fmla="*/ 150 w 412"/>
                <a:gd name="T13" fmla="*/ 354 h 426"/>
                <a:gd name="T14" fmla="*/ 192 w 412"/>
                <a:gd name="T15" fmla="*/ 290 h 426"/>
                <a:gd name="T16" fmla="*/ 198 w 412"/>
                <a:gd name="T17" fmla="*/ 284 h 426"/>
                <a:gd name="T18" fmla="*/ 204 w 412"/>
                <a:gd name="T19" fmla="*/ 282 h 426"/>
                <a:gd name="T20" fmla="*/ 214 w 412"/>
                <a:gd name="T21" fmla="*/ 288 h 426"/>
                <a:gd name="T22" fmla="*/ 244 w 412"/>
                <a:gd name="T23" fmla="*/ 330 h 426"/>
                <a:gd name="T24" fmla="*/ 294 w 412"/>
                <a:gd name="T25" fmla="*/ 390 h 426"/>
                <a:gd name="T26" fmla="*/ 316 w 412"/>
                <a:gd name="T27" fmla="*/ 410 h 426"/>
                <a:gd name="T28" fmla="*/ 332 w 412"/>
                <a:gd name="T29" fmla="*/ 418 h 426"/>
                <a:gd name="T30" fmla="*/ 348 w 412"/>
                <a:gd name="T31" fmla="*/ 422 h 426"/>
                <a:gd name="T32" fmla="*/ 360 w 412"/>
                <a:gd name="T33" fmla="*/ 422 h 426"/>
                <a:gd name="T34" fmla="*/ 382 w 412"/>
                <a:gd name="T35" fmla="*/ 414 h 426"/>
                <a:gd name="T36" fmla="*/ 390 w 412"/>
                <a:gd name="T37" fmla="*/ 408 h 426"/>
                <a:gd name="T38" fmla="*/ 406 w 412"/>
                <a:gd name="T39" fmla="*/ 386 h 426"/>
                <a:gd name="T40" fmla="*/ 412 w 412"/>
                <a:gd name="T41" fmla="*/ 364 h 426"/>
                <a:gd name="T42" fmla="*/ 410 w 412"/>
                <a:gd name="T43" fmla="*/ 356 h 426"/>
                <a:gd name="T44" fmla="*/ 404 w 412"/>
                <a:gd name="T45" fmla="*/ 344 h 426"/>
                <a:gd name="T46" fmla="*/ 396 w 412"/>
                <a:gd name="T47" fmla="*/ 338 h 426"/>
                <a:gd name="T48" fmla="*/ 318 w 412"/>
                <a:gd name="T49" fmla="*/ 280 h 426"/>
                <a:gd name="T50" fmla="*/ 290 w 412"/>
                <a:gd name="T51" fmla="*/ 250 h 426"/>
                <a:gd name="T52" fmla="*/ 268 w 412"/>
                <a:gd name="T53" fmla="*/ 224 h 426"/>
                <a:gd name="T54" fmla="*/ 258 w 412"/>
                <a:gd name="T55" fmla="*/ 202 h 426"/>
                <a:gd name="T56" fmla="*/ 248 w 412"/>
                <a:gd name="T57" fmla="*/ 154 h 426"/>
                <a:gd name="T58" fmla="*/ 246 w 412"/>
                <a:gd name="T59" fmla="*/ 42 h 426"/>
                <a:gd name="T60" fmla="*/ 246 w 412"/>
                <a:gd name="T61" fmla="*/ 30 h 426"/>
                <a:gd name="T62" fmla="*/ 240 w 412"/>
                <a:gd name="T63" fmla="*/ 14 h 426"/>
                <a:gd name="T64" fmla="*/ 234 w 412"/>
                <a:gd name="T65" fmla="*/ 10 h 426"/>
                <a:gd name="T66" fmla="*/ 220 w 412"/>
                <a:gd name="T67" fmla="*/ 2 h 426"/>
                <a:gd name="T68" fmla="*/ 196 w 412"/>
                <a:gd name="T69" fmla="*/ 0 h 426"/>
                <a:gd name="T70" fmla="*/ 176 w 412"/>
                <a:gd name="T71" fmla="*/ 2 h 426"/>
                <a:gd name="T72" fmla="*/ 162 w 412"/>
                <a:gd name="T73" fmla="*/ 8 h 426"/>
                <a:gd name="T74" fmla="*/ 154 w 412"/>
                <a:gd name="T75" fmla="*/ 14 h 426"/>
                <a:gd name="T76" fmla="*/ 146 w 412"/>
                <a:gd name="T77" fmla="*/ 32 h 426"/>
                <a:gd name="T78" fmla="*/ 146 w 412"/>
                <a:gd name="T79" fmla="*/ 124 h 426"/>
                <a:gd name="T80" fmla="*/ 142 w 412"/>
                <a:gd name="T81" fmla="*/ 156 h 426"/>
                <a:gd name="T82" fmla="*/ 128 w 412"/>
                <a:gd name="T83" fmla="*/ 216 h 426"/>
                <a:gd name="T84" fmla="*/ 114 w 412"/>
                <a:gd name="T85" fmla="*/ 240 h 426"/>
                <a:gd name="T86" fmla="*/ 78 w 412"/>
                <a:gd name="T87" fmla="*/ 286 h 426"/>
                <a:gd name="T88" fmla="*/ 16 w 412"/>
                <a:gd name="T89" fmla="*/ 338 h 426"/>
                <a:gd name="T90" fmla="*/ 8 w 412"/>
                <a:gd name="T91" fmla="*/ 344 h 426"/>
                <a:gd name="T92" fmla="*/ 0 w 412"/>
                <a:gd name="T93" fmla="*/ 362 h 426"/>
                <a:gd name="T94" fmla="*/ 0 w 412"/>
                <a:gd name="T95" fmla="*/ 372 h 426"/>
                <a:gd name="T96" fmla="*/ 6 w 412"/>
                <a:gd name="T97" fmla="*/ 394 h 426"/>
                <a:gd name="T98" fmla="*/ 22 w 412"/>
                <a:gd name="T99" fmla="*/ 41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426">
                  <a:moveTo>
                    <a:pt x="22" y="414"/>
                  </a:moveTo>
                  <a:lnTo>
                    <a:pt x="22" y="414"/>
                  </a:lnTo>
                  <a:lnTo>
                    <a:pt x="30" y="418"/>
                  </a:lnTo>
                  <a:lnTo>
                    <a:pt x="38" y="422"/>
                  </a:lnTo>
                  <a:lnTo>
                    <a:pt x="48" y="426"/>
                  </a:lnTo>
                  <a:lnTo>
                    <a:pt x="60" y="426"/>
                  </a:lnTo>
                  <a:lnTo>
                    <a:pt x="60" y="426"/>
                  </a:lnTo>
                  <a:lnTo>
                    <a:pt x="70" y="424"/>
                  </a:lnTo>
                  <a:lnTo>
                    <a:pt x="82" y="420"/>
                  </a:lnTo>
                  <a:lnTo>
                    <a:pt x="92" y="414"/>
                  </a:lnTo>
                  <a:lnTo>
                    <a:pt x="104" y="406"/>
                  </a:lnTo>
                  <a:lnTo>
                    <a:pt x="104" y="406"/>
                  </a:lnTo>
                  <a:lnTo>
                    <a:pt x="126" y="380"/>
                  </a:lnTo>
                  <a:lnTo>
                    <a:pt x="150" y="354"/>
                  </a:lnTo>
                  <a:lnTo>
                    <a:pt x="172" y="324"/>
                  </a:lnTo>
                  <a:lnTo>
                    <a:pt x="192" y="290"/>
                  </a:lnTo>
                  <a:lnTo>
                    <a:pt x="192" y="290"/>
                  </a:lnTo>
                  <a:lnTo>
                    <a:pt x="198" y="284"/>
                  </a:lnTo>
                  <a:lnTo>
                    <a:pt x="204" y="282"/>
                  </a:lnTo>
                  <a:lnTo>
                    <a:pt x="204" y="282"/>
                  </a:lnTo>
                  <a:lnTo>
                    <a:pt x="208" y="284"/>
                  </a:lnTo>
                  <a:lnTo>
                    <a:pt x="214" y="288"/>
                  </a:lnTo>
                  <a:lnTo>
                    <a:pt x="214" y="288"/>
                  </a:lnTo>
                  <a:lnTo>
                    <a:pt x="244" y="330"/>
                  </a:lnTo>
                  <a:lnTo>
                    <a:pt x="270" y="362"/>
                  </a:lnTo>
                  <a:lnTo>
                    <a:pt x="294" y="390"/>
                  </a:lnTo>
                  <a:lnTo>
                    <a:pt x="316" y="410"/>
                  </a:lnTo>
                  <a:lnTo>
                    <a:pt x="316" y="410"/>
                  </a:lnTo>
                  <a:lnTo>
                    <a:pt x="324" y="416"/>
                  </a:lnTo>
                  <a:lnTo>
                    <a:pt x="332" y="418"/>
                  </a:lnTo>
                  <a:lnTo>
                    <a:pt x="340" y="422"/>
                  </a:lnTo>
                  <a:lnTo>
                    <a:pt x="348" y="422"/>
                  </a:lnTo>
                  <a:lnTo>
                    <a:pt x="348" y="422"/>
                  </a:lnTo>
                  <a:lnTo>
                    <a:pt x="360" y="422"/>
                  </a:lnTo>
                  <a:lnTo>
                    <a:pt x="372" y="418"/>
                  </a:lnTo>
                  <a:lnTo>
                    <a:pt x="382" y="414"/>
                  </a:lnTo>
                  <a:lnTo>
                    <a:pt x="390" y="408"/>
                  </a:lnTo>
                  <a:lnTo>
                    <a:pt x="390" y="408"/>
                  </a:lnTo>
                  <a:lnTo>
                    <a:pt x="400" y="398"/>
                  </a:lnTo>
                  <a:lnTo>
                    <a:pt x="406" y="386"/>
                  </a:lnTo>
                  <a:lnTo>
                    <a:pt x="410" y="376"/>
                  </a:lnTo>
                  <a:lnTo>
                    <a:pt x="412" y="364"/>
                  </a:lnTo>
                  <a:lnTo>
                    <a:pt x="412" y="364"/>
                  </a:lnTo>
                  <a:lnTo>
                    <a:pt x="410" y="356"/>
                  </a:lnTo>
                  <a:lnTo>
                    <a:pt x="408" y="350"/>
                  </a:lnTo>
                  <a:lnTo>
                    <a:pt x="404" y="344"/>
                  </a:lnTo>
                  <a:lnTo>
                    <a:pt x="396" y="338"/>
                  </a:lnTo>
                  <a:lnTo>
                    <a:pt x="396" y="338"/>
                  </a:lnTo>
                  <a:lnTo>
                    <a:pt x="354" y="308"/>
                  </a:lnTo>
                  <a:lnTo>
                    <a:pt x="318" y="280"/>
                  </a:lnTo>
                  <a:lnTo>
                    <a:pt x="302" y="266"/>
                  </a:lnTo>
                  <a:lnTo>
                    <a:pt x="290" y="250"/>
                  </a:lnTo>
                  <a:lnTo>
                    <a:pt x="278" y="236"/>
                  </a:lnTo>
                  <a:lnTo>
                    <a:pt x="268" y="224"/>
                  </a:lnTo>
                  <a:lnTo>
                    <a:pt x="268" y="224"/>
                  </a:lnTo>
                  <a:lnTo>
                    <a:pt x="258" y="202"/>
                  </a:lnTo>
                  <a:lnTo>
                    <a:pt x="252" y="180"/>
                  </a:lnTo>
                  <a:lnTo>
                    <a:pt x="248" y="154"/>
                  </a:lnTo>
                  <a:lnTo>
                    <a:pt x="246" y="126"/>
                  </a:lnTo>
                  <a:lnTo>
                    <a:pt x="246" y="42"/>
                  </a:lnTo>
                  <a:lnTo>
                    <a:pt x="246" y="42"/>
                  </a:lnTo>
                  <a:lnTo>
                    <a:pt x="246" y="30"/>
                  </a:lnTo>
                  <a:lnTo>
                    <a:pt x="244" y="22"/>
                  </a:lnTo>
                  <a:lnTo>
                    <a:pt x="240" y="14"/>
                  </a:lnTo>
                  <a:lnTo>
                    <a:pt x="234" y="10"/>
                  </a:lnTo>
                  <a:lnTo>
                    <a:pt x="234" y="10"/>
                  </a:lnTo>
                  <a:lnTo>
                    <a:pt x="228" y="6"/>
                  </a:lnTo>
                  <a:lnTo>
                    <a:pt x="220" y="2"/>
                  </a:lnTo>
                  <a:lnTo>
                    <a:pt x="208" y="0"/>
                  </a:lnTo>
                  <a:lnTo>
                    <a:pt x="196" y="0"/>
                  </a:lnTo>
                  <a:lnTo>
                    <a:pt x="196" y="0"/>
                  </a:lnTo>
                  <a:lnTo>
                    <a:pt x="176" y="2"/>
                  </a:lnTo>
                  <a:lnTo>
                    <a:pt x="168" y="4"/>
                  </a:lnTo>
                  <a:lnTo>
                    <a:pt x="162" y="8"/>
                  </a:lnTo>
                  <a:lnTo>
                    <a:pt x="162" y="8"/>
                  </a:lnTo>
                  <a:lnTo>
                    <a:pt x="154" y="14"/>
                  </a:lnTo>
                  <a:lnTo>
                    <a:pt x="150" y="22"/>
                  </a:lnTo>
                  <a:lnTo>
                    <a:pt x="146" y="32"/>
                  </a:lnTo>
                  <a:lnTo>
                    <a:pt x="146" y="42"/>
                  </a:lnTo>
                  <a:lnTo>
                    <a:pt x="146" y="124"/>
                  </a:lnTo>
                  <a:lnTo>
                    <a:pt x="146" y="124"/>
                  </a:lnTo>
                  <a:lnTo>
                    <a:pt x="142" y="156"/>
                  </a:lnTo>
                  <a:lnTo>
                    <a:pt x="136" y="188"/>
                  </a:lnTo>
                  <a:lnTo>
                    <a:pt x="128" y="216"/>
                  </a:lnTo>
                  <a:lnTo>
                    <a:pt x="114" y="240"/>
                  </a:lnTo>
                  <a:lnTo>
                    <a:pt x="114" y="240"/>
                  </a:lnTo>
                  <a:lnTo>
                    <a:pt x="98" y="262"/>
                  </a:lnTo>
                  <a:lnTo>
                    <a:pt x="78" y="286"/>
                  </a:lnTo>
                  <a:lnTo>
                    <a:pt x="50" y="312"/>
                  </a:lnTo>
                  <a:lnTo>
                    <a:pt x="16" y="338"/>
                  </a:lnTo>
                  <a:lnTo>
                    <a:pt x="16" y="338"/>
                  </a:lnTo>
                  <a:lnTo>
                    <a:pt x="8" y="344"/>
                  </a:lnTo>
                  <a:lnTo>
                    <a:pt x="4" y="354"/>
                  </a:lnTo>
                  <a:lnTo>
                    <a:pt x="0" y="362"/>
                  </a:lnTo>
                  <a:lnTo>
                    <a:pt x="0" y="372"/>
                  </a:lnTo>
                  <a:lnTo>
                    <a:pt x="0" y="372"/>
                  </a:lnTo>
                  <a:lnTo>
                    <a:pt x="2" y="384"/>
                  </a:lnTo>
                  <a:lnTo>
                    <a:pt x="6" y="394"/>
                  </a:lnTo>
                  <a:lnTo>
                    <a:pt x="14" y="404"/>
                  </a:lnTo>
                  <a:lnTo>
                    <a:pt x="22" y="414"/>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24" name="Freeform 18"/>
            <p:cNvSpPr>
              <a:spLocks noEditPoints="1"/>
            </p:cNvSpPr>
            <p:nvPr/>
          </p:nvSpPr>
          <p:spPr bwMode="auto">
            <a:xfrm>
              <a:off x="6574053" y="2185797"/>
              <a:ext cx="645142" cy="229756"/>
            </a:xfrm>
            <a:custGeom>
              <a:avLst/>
              <a:gdLst>
                <a:gd name="T0" fmla="*/ 72 w 848"/>
                <a:gd name="T1" fmla="*/ 0 h 302"/>
                <a:gd name="T2" fmla="*/ 56 w 848"/>
                <a:gd name="T3" fmla="*/ 0 h 302"/>
                <a:gd name="T4" fmla="*/ 28 w 848"/>
                <a:gd name="T5" fmla="*/ 8 h 302"/>
                <a:gd name="T6" fmla="*/ 10 w 848"/>
                <a:gd name="T7" fmla="*/ 26 h 302"/>
                <a:gd name="T8" fmla="*/ 2 w 848"/>
                <a:gd name="T9" fmla="*/ 52 h 302"/>
                <a:gd name="T10" fmla="*/ 0 w 848"/>
                <a:gd name="T11" fmla="*/ 230 h 302"/>
                <a:gd name="T12" fmla="*/ 2 w 848"/>
                <a:gd name="T13" fmla="*/ 246 h 302"/>
                <a:gd name="T14" fmla="*/ 10 w 848"/>
                <a:gd name="T15" fmla="*/ 274 h 302"/>
                <a:gd name="T16" fmla="*/ 28 w 848"/>
                <a:gd name="T17" fmla="*/ 292 h 302"/>
                <a:gd name="T18" fmla="*/ 56 w 848"/>
                <a:gd name="T19" fmla="*/ 300 h 302"/>
                <a:gd name="T20" fmla="*/ 776 w 848"/>
                <a:gd name="T21" fmla="*/ 302 h 302"/>
                <a:gd name="T22" fmla="*/ 794 w 848"/>
                <a:gd name="T23" fmla="*/ 300 h 302"/>
                <a:gd name="T24" fmla="*/ 820 w 848"/>
                <a:gd name="T25" fmla="*/ 292 h 302"/>
                <a:gd name="T26" fmla="*/ 838 w 848"/>
                <a:gd name="T27" fmla="*/ 274 h 302"/>
                <a:gd name="T28" fmla="*/ 848 w 848"/>
                <a:gd name="T29" fmla="*/ 246 h 302"/>
                <a:gd name="T30" fmla="*/ 848 w 848"/>
                <a:gd name="T31" fmla="*/ 70 h 302"/>
                <a:gd name="T32" fmla="*/ 848 w 848"/>
                <a:gd name="T33" fmla="*/ 52 h 302"/>
                <a:gd name="T34" fmla="*/ 838 w 848"/>
                <a:gd name="T35" fmla="*/ 26 h 302"/>
                <a:gd name="T36" fmla="*/ 820 w 848"/>
                <a:gd name="T37" fmla="*/ 8 h 302"/>
                <a:gd name="T38" fmla="*/ 794 w 848"/>
                <a:gd name="T39" fmla="*/ 0 h 302"/>
                <a:gd name="T40" fmla="*/ 250 w 848"/>
                <a:gd name="T41" fmla="*/ 212 h 302"/>
                <a:gd name="T42" fmla="*/ 130 w 848"/>
                <a:gd name="T43" fmla="*/ 212 h 302"/>
                <a:gd name="T44" fmla="*/ 114 w 848"/>
                <a:gd name="T45" fmla="*/ 208 h 302"/>
                <a:gd name="T46" fmla="*/ 110 w 848"/>
                <a:gd name="T47" fmla="*/ 200 h 302"/>
                <a:gd name="T48" fmla="*/ 106 w 848"/>
                <a:gd name="T49" fmla="*/ 188 h 302"/>
                <a:gd name="T50" fmla="*/ 106 w 848"/>
                <a:gd name="T51" fmla="*/ 110 h 302"/>
                <a:gd name="T52" fmla="*/ 112 w 848"/>
                <a:gd name="T53" fmla="*/ 94 h 302"/>
                <a:gd name="T54" fmla="*/ 130 w 848"/>
                <a:gd name="T55" fmla="*/ 88 h 302"/>
                <a:gd name="T56" fmla="*/ 250 w 848"/>
                <a:gd name="T57" fmla="*/ 212 h 302"/>
                <a:gd name="T58" fmla="*/ 352 w 848"/>
                <a:gd name="T59" fmla="*/ 212 h 302"/>
                <a:gd name="T60" fmla="*/ 498 w 848"/>
                <a:gd name="T61" fmla="*/ 88 h 302"/>
                <a:gd name="T62" fmla="*/ 742 w 848"/>
                <a:gd name="T63" fmla="*/ 188 h 302"/>
                <a:gd name="T64" fmla="*/ 742 w 848"/>
                <a:gd name="T65" fmla="*/ 194 h 302"/>
                <a:gd name="T66" fmla="*/ 738 w 848"/>
                <a:gd name="T67" fmla="*/ 204 h 302"/>
                <a:gd name="T68" fmla="*/ 728 w 848"/>
                <a:gd name="T69" fmla="*/ 212 h 302"/>
                <a:gd name="T70" fmla="*/ 600 w 848"/>
                <a:gd name="T71" fmla="*/ 212 h 302"/>
                <a:gd name="T72" fmla="*/ 720 w 848"/>
                <a:gd name="T73" fmla="*/ 88 h 302"/>
                <a:gd name="T74" fmla="*/ 730 w 848"/>
                <a:gd name="T75" fmla="*/ 90 h 302"/>
                <a:gd name="T76" fmla="*/ 742 w 848"/>
                <a:gd name="T77" fmla="*/ 102 h 302"/>
                <a:gd name="T78" fmla="*/ 742 w 848"/>
                <a:gd name="T79" fmla="*/ 18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 h="302">
                  <a:moveTo>
                    <a:pt x="776" y="0"/>
                  </a:moveTo>
                  <a:lnTo>
                    <a:pt x="72" y="0"/>
                  </a:lnTo>
                  <a:lnTo>
                    <a:pt x="72" y="0"/>
                  </a:lnTo>
                  <a:lnTo>
                    <a:pt x="56" y="0"/>
                  </a:lnTo>
                  <a:lnTo>
                    <a:pt x="40" y="4"/>
                  </a:lnTo>
                  <a:lnTo>
                    <a:pt x="28" y="8"/>
                  </a:lnTo>
                  <a:lnTo>
                    <a:pt x="18" y="16"/>
                  </a:lnTo>
                  <a:lnTo>
                    <a:pt x="10" y="26"/>
                  </a:lnTo>
                  <a:lnTo>
                    <a:pt x="6" y="38"/>
                  </a:lnTo>
                  <a:lnTo>
                    <a:pt x="2" y="52"/>
                  </a:lnTo>
                  <a:lnTo>
                    <a:pt x="0" y="70"/>
                  </a:lnTo>
                  <a:lnTo>
                    <a:pt x="0" y="230"/>
                  </a:lnTo>
                  <a:lnTo>
                    <a:pt x="0" y="230"/>
                  </a:lnTo>
                  <a:lnTo>
                    <a:pt x="2" y="246"/>
                  </a:lnTo>
                  <a:lnTo>
                    <a:pt x="6" y="262"/>
                  </a:lnTo>
                  <a:lnTo>
                    <a:pt x="10" y="274"/>
                  </a:lnTo>
                  <a:lnTo>
                    <a:pt x="18" y="284"/>
                  </a:lnTo>
                  <a:lnTo>
                    <a:pt x="28" y="292"/>
                  </a:lnTo>
                  <a:lnTo>
                    <a:pt x="40" y="298"/>
                  </a:lnTo>
                  <a:lnTo>
                    <a:pt x="56" y="300"/>
                  </a:lnTo>
                  <a:lnTo>
                    <a:pt x="72" y="302"/>
                  </a:lnTo>
                  <a:lnTo>
                    <a:pt x="776" y="302"/>
                  </a:lnTo>
                  <a:lnTo>
                    <a:pt x="776" y="302"/>
                  </a:lnTo>
                  <a:lnTo>
                    <a:pt x="794" y="300"/>
                  </a:lnTo>
                  <a:lnTo>
                    <a:pt x="808" y="298"/>
                  </a:lnTo>
                  <a:lnTo>
                    <a:pt x="820" y="292"/>
                  </a:lnTo>
                  <a:lnTo>
                    <a:pt x="830" y="284"/>
                  </a:lnTo>
                  <a:lnTo>
                    <a:pt x="838" y="274"/>
                  </a:lnTo>
                  <a:lnTo>
                    <a:pt x="844" y="262"/>
                  </a:lnTo>
                  <a:lnTo>
                    <a:pt x="848" y="246"/>
                  </a:lnTo>
                  <a:lnTo>
                    <a:pt x="848" y="230"/>
                  </a:lnTo>
                  <a:lnTo>
                    <a:pt x="848" y="70"/>
                  </a:lnTo>
                  <a:lnTo>
                    <a:pt x="848" y="70"/>
                  </a:lnTo>
                  <a:lnTo>
                    <a:pt x="848" y="52"/>
                  </a:lnTo>
                  <a:lnTo>
                    <a:pt x="844" y="38"/>
                  </a:lnTo>
                  <a:lnTo>
                    <a:pt x="838" y="26"/>
                  </a:lnTo>
                  <a:lnTo>
                    <a:pt x="830" y="16"/>
                  </a:lnTo>
                  <a:lnTo>
                    <a:pt x="820" y="8"/>
                  </a:lnTo>
                  <a:lnTo>
                    <a:pt x="808" y="4"/>
                  </a:lnTo>
                  <a:lnTo>
                    <a:pt x="794" y="0"/>
                  </a:lnTo>
                  <a:lnTo>
                    <a:pt x="776" y="0"/>
                  </a:lnTo>
                  <a:close/>
                  <a:moveTo>
                    <a:pt x="250" y="212"/>
                  </a:moveTo>
                  <a:lnTo>
                    <a:pt x="130" y="212"/>
                  </a:lnTo>
                  <a:lnTo>
                    <a:pt x="130" y="212"/>
                  </a:lnTo>
                  <a:lnTo>
                    <a:pt x="122" y="212"/>
                  </a:lnTo>
                  <a:lnTo>
                    <a:pt x="114" y="208"/>
                  </a:lnTo>
                  <a:lnTo>
                    <a:pt x="112" y="204"/>
                  </a:lnTo>
                  <a:lnTo>
                    <a:pt x="110" y="200"/>
                  </a:lnTo>
                  <a:lnTo>
                    <a:pt x="108" y="194"/>
                  </a:lnTo>
                  <a:lnTo>
                    <a:pt x="106" y="188"/>
                  </a:lnTo>
                  <a:lnTo>
                    <a:pt x="106" y="110"/>
                  </a:lnTo>
                  <a:lnTo>
                    <a:pt x="106" y="110"/>
                  </a:lnTo>
                  <a:lnTo>
                    <a:pt x="108" y="100"/>
                  </a:lnTo>
                  <a:lnTo>
                    <a:pt x="112" y="94"/>
                  </a:lnTo>
                  <a:lnTo>
                    <a:pt x="120" y="90"/>
                  </a:lnTo>
                  <a:lnTo>
                    <a:pt x="130" y="88"/>
                  </a:lnTo>
                  <a:lnTo>
                    <a:pt x="250" y="88"/>
                  </a:lnTo>
                  <a:lnTo>
                    <a:pt x="250" y="212"/>
                  </a:lnTo>
                  <a:close/>
                  <a:moveTo>
                    <a:pt x="498" y="212"/>
                  </a:moveTo>
                  <a:lnTo>
                    <a:pt x="352" y="212"/>
                  </a:lnTo>
                  <a:lnTo>
                    <a:pt x="352" y="88"/>
                  </a:lnTo>
                  <a:lnTo>
                    <a:pt x="498" y="88"/>
                  </a:lnTo>
                  <a:lnTo>
                    <a:pt x="498" y="212"/>
                  </a:lnTo>
                  <a:close/>
                  <a:moveTo>
                    <a:pt x="742" y="188"/>
                  </a:moveTo>
                  <a:lnTo>
                    <a:pt x="742" y="188"/>
                  </a:lnTo>
                  <a:lnTo>
                    <a:pt x="742" y="194"/>
                  </a:lnTo>
                  <a:lnTo>
                    <a:pt x="740" y="200"/>
                  </a:lnTo>
                  <a:lnTo>
                    <a:pt x="738" y="204"/>
                  </a:lnTo>
                  <a:lnTo>
                    <a:pt x="736" y="208"/>
                  </a:lnTo>
                  <a:lnTo>
                    <a:pt x="728" y="212"/>
                  </a:lnTo>
                  <a:lnTo>
                    <a:pt x="720" y="212"/>
                  </a:lnTo>
                  <a:lnTo>
                    <a:pt x="600" y="212"/>
                  </a:lnTo>
                  <a:lnTo>
                    <a:pt x="600" y="88"/>
                  </a:lnTo>
                  <a:lnTo>
                    <a:pt x="720" y="88"/>
                  </a:lnTo>
                  <a:lnTo>
                    <a:pt x="720" y="88"/>
                  </a:lnTo>
                  <a:lnTo>
                    <a:pt x="730" y="90"/>
                  </a:lnTo>
                  <a:lnTo>
                    <a:pt x="736" y="94"/>
                  </a:lnTo>
                  <a:lnTo>
                    <a:pt x="742" y="102"/>
                  </a:lnTo>
                  <a:lnTo>
                    <a:pt x="742" y="110"/>
                  </a:lnTo>
                  <a:lnTo>
                    <a:pt x="742" y="188"/>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25" name="Freeform 23"/>
            <p:cNvSpPr>
              <a:spLocks/>
            </p:cNvSpPr>
            <p:nvPr/>
          </p:nvSpPr>
          <p:spPr bwMode="auto">
            <a:xfrm>
              <a:off x="7585891" y="2196448"/>
              <a:ext cx="435166" cy="63906"/>
            </a:xfrm>
            <a:custGeom>
              <a:avLst/>
              <a:gdLst>
                <a:gd name="T0" fmla="*/ 530 w 572"/>
                <a:gd name="T1" fmla="*/ 0 h 84"/>
                <a:gd name="T2" fmla="*/ 42 w 572"/>
                <a:gd name="T3" fmla="*/ 0 h 84"/>
                <a:gd name="T4" fmla="*/ 42 w 572"/>
                <a:gd name="T5" fmla="*/ 0 h 84"/>
                <a:gd name="T6" fmla="*/ 32 w 572"/>
                <a:gd name="T7" fmla="*/ 0 h 84"/>
                <a:gd name="T8" fmla="*/ 24 w 572"/>
                <a:gd name="T9" fmla="*/ 2 h 84"/>
                <a:gd name="T10" fmla="*/ 16 w 572"/>
                <a:gd name="T11" fmla="*/ 4 h 84"/>
                <a:gd name="T12" fmla="*/ 10 w 572"/>
                <a:gd name="T13" fmla="*/ 8 h 84"/>
                <a:gd name="T14" fmla="*/ 10 w 572"/>
                <a:gd name="T15" fmla="*/ 8 h 84"/>
                <a:gd name="T16" fmla="*/ 6 w 572"/>
                <a:gd name="T17" fmla="*/ 16 h 84"/>
                <a:gd name="T18" fmla="*/ 2 w 572"/>
                <a:gd name="T19" fmla="*/ 22 h 84"/>
                <a:gd name="T20" fmla="*/ 2 w 572"/>
                <a:gd name="T21" fmla="*/ 32 h 84"/>
                <a:gd name="T22" fmla="*/ 0 w 572"/>
                <a:gd name="T23" fmla="*/ 42 h 84"/>
                <a:gd name="T24" fmla="*/ 0 w 572"/>
                <a:gd name="T25" fmla="*/ 42 h 84"/>
                <a:gd name="T26" fmla="*/ 2 w 572"/>
                <a:gd name="T27" fmla="*/ 52 h 84"/>
                <a:gd name="T28" fmla="*/ 2 w 572"/>
                <a:gd name="T29" fmla="*/ 62 h 84"/>
                <a:gd name="T30" fmla="*/ 6 w 572"/>
                <a:gd name="T31" fmla="*/ 70 h 84"/>
                <a:gd name="T32" fmla="*/ 10 w 572"/>
                <a:gd name="T33" fmla="*/ 74 h 84"/>
                <a:gd name="T34" fmla="*/ 10 w 572"/>
                <a:gd name="T35" fmla="*/ 74 h 84"/>
                <a:gd name="T36" fmla="*/ 16 w 572"/>
                <a:gd name="T37" fmla="*/ 78 h 84"/>
                <a:gd name="T38" fmla="*/ 24 w 572"/>
                <a:gd name="T39" fmla="*/ 82 h 84"/>
                <a:gd name="T40" fmla="*/ 32 w 572"/>
                <a:gd name="T41" fmla="*/ 84 h 84"/>
                <a:gd name="T42" fmla="*/ 42 w 572"/>
                <a:gd name="T43" fmla="*/ 84 h 84"/>
                <a:gd name="T44" fmla="*/ 530 w 572"/>
                <a:gd name="T45" fmla="*/ 84 h 84"/>
                <a:gd name="T46" fmla="*/ 530 w 572"/>
                <a:gd name="T47" fmla="*/ 84 h 84"/>
                <a:gd name="T48" fmla="*/ 540 w 572"/>
                <a:gd name="T49" fmla="*/ 84 h 84"/>
                <a:gd name="T50" fmla="*/ 548 w 572"/>
                <a:gd name="T51" fmla="*/ 80 h 84"/>
                <a:gd name="T52" fmla="*/ 556 w 572"/>
                <a:gd name="T53" fmla="*/ 78 h 84"/>
                <a:gd name="T54" fmla="*/ 562 w 572"/>
                <a:gd name="T55" fmla="*/ 72 h 84"/>
                <a:gd name="T56" fmla="*/ 562 w 572"/>
                <a:gd name="T57" fmla="*/ 72 h 84"/>
                <a:gd name="T58" fmla="*/ 566 w 572"/>
                <a:gd name="T59" fmla="*/ 66 h 84"/>
                <a:gd name="T60" fmla="*/ 570 w 572"/>
                <a:gd name="T61" fmla="*/ 60 h 84"/>
                <a:gd name="T62" fmla="*/ 570 w 572"/>
                <a:gd name="T63" fmla="*/ 52 h 84"/>
                <a:gd name="T64" fmla="*/ 572 w 572"/>
                <a:gd name="T65" fmla="*/ 42 h 84"/>
                <a:gd name="T66" fmla="*/ 572 w 572"/>
                <a:gd name="T67" fmla="*/ 42 h 84"/>
                <a:gd name="T68" fmla="*/ 570 w 572"/>
                <a:gd name="T69" fmla="*/ 30 h 84"/>
                <a:gd name="T70" fmla="*/ 568 w 572"/>
                <a:gd name="T71" fmla="*/ 22 h 84"/>
                <a:gd name="T72" fmla="*/ 566 w 572"/>
                <a:gd name="T73" fmla="*/ 14 h 84"/>
                <a:gd name="T74" fmla="*/ 562 w 572"/>
                <a:gd name="T75" fmla="*/ 8 h 84"/>
                <a:gd name="T76" fmla="*/ 562 w 572"/>
                <a:gd name="T77" fmla="*/ 8 h 84"/>
                <a:gd name="T78" fmla="*/ 556 w 572"/>
                <a:gd name="T79" fmla="*/ 4 h 84"/>
                <a:gd name="T80" fmla="*/ 548 w 572"/>
                <a:gd name="T81" fmla="*/ 2 h 84"/>
                <a:gd name="T82" fmla="*/ 540 w 572"/>
                <a:gd name="T83" fmla="*/ 0 h 84"/>
                <a:gd name="T84" fmla="*/ 530 w 572"/>
                <a:gd name="T8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2" h="84">
                  <a:moveTo>
                    <a:pt x="530" y="0"/>
                  </a:moveTo>
                  <a:lnTo>
                    <a:pt x="42" y="0"/>
                  </a:lnTo>
                  <a:lnTo>
                    <a:pt x="42" y="0"/>
                  </a:lnTo>
                  <a:lnTo>
                    <a:pt x="32" y="0"/>
                  </a:lnTo>
                  <a:lnTo>
                    <a:pt x="24" y="2"/>
                  </a:lnTo>
                  <a:lnTo>
                    <a:pt x="16" y="4"/>
                  </a:lnTo>
                  <a:lnTo>
                    <a:pt x="10" y="8"/>
                  </a:lnTo>
                  <a:lnTo>
                    <a:pt x="10" y="8"/>
                  </a:lnTo>
                  <a:lnTo>
                    <a:pt x="6" y="16"/>
                  </a:lnTo>
                  <a:lnTo>
                    <a:pt x="2" y="22"/>
                  </a:lnTo>
                  <a:lnTo>
                    <a:pt x="2" y="32"/>
                  </a:lnTo>
                  <a:lnTo>
                    <a:pt x="0" y="42"/>
                  </a:lnTo>
                  <a:lnTo>
                    <a:pt x="0" y="42"/>
                  </a:lnTo>
                  <a:lnTo>
                    <a:pt x="2" y="52"/>
                  </a:lnTo>
                  <a:lnTo>
                    <a:pt x="2" y="62"/>
                  </a:lnTo>
                  <a:lnTo>
                    <a:pt x="6" y="70"/>
                  </a:lnTo>
                  <a:lnTo>
                    <a:pt x="10" y="74"/>
                  </a:lnTo>
                  <a:lnTo>
                    <a:pt x="10" y="74"/>
                  </a:lnTo>
                  <a:lnTo>
                    <a:pt x="16" y="78"/>
                  </a:lnTo>
                  <a:lnTo>
                    <a:pt x="24" y="82"/>
                  </a:lnTo>
                  <a:lnTo>
                    <a:pt x="32" y="84"/>
                  </a:lnTo>
                  <a:lnTo>
                    <a:pt x="42" y="84"/>
                  </a:lnTo>
                  <a:lnTo>
                    <a:pt x="530" y="84"/>
                  </a:lnTo>
                  <a:lnTo>
                    <a:pt x="530" y="84"/>
                  </a:lnTo>
                  <a:lnTo>
                    <a:pt x="540" y="84"/>
                  </a:lnTo>
                  <a:lnTo>
                    <a:pt x="548" y="80"/>
                  </a:lnTo>
                  <a:lnTo>
                    <a:pt x="556" y="78"/>
                  </a:lnTo>
                  <a:lnTo>
                    <a:pt x="562" y="72"/>
                  </a:lnTo>
                  <a:lnTo>
                    <a:pt x="562" y="72"/>
                  </a:lnTo>
                  <a:lnTo>
                    <a:pt x="566" y="66"/>
                  </a:lnTo>
                  <a:lnTo>
                    <a:pt x="570" y="60"/>
                  </a:lnTo>
                  <a:lnTo>
                    <a:pt x="570" y="52"/>
                  </a:lnTo>
                  <a:lnTo>
                    <a:pt x="572" y="42"/>
                  </a:lnTo>
                  <a:lnTo>
                    <a:pt x="572" y="42"/>
                  </a:lnTo>
                  <a:lnTo>
                    <a:pt x="570" y="30"/>
                  </a:lnTo>
                  <a:lnTo>
                    <a:pt x="568" y="22"/>
                  </a:lnTo>
                  <a:lnTo>
                    <a:pt x="566" y="14"/>
                  </a:lnTo>
                  <a:lnTo>
                    <a:pt x="562" y="8"/>
                  </a:lnTo>
                  <a:lnTo>
                    <a:pt x="562" y="8"/>
                  </a:lnTo>
                  <a:lnTo>
                    <a:pt x="556" y="4"/>
                  </a:lnTo>
                  <a:lnTo>
                    <a:pt x="548" y="2"/>
                  </a:lnTo>
                  <a:lnTo>
                    <a:pt x="540" y="0"/>
                  </a:lnTo>
                  <a:lnTo>
                    <a:pt x="530" y="0"/>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26" name="Freeform 25"/>
            <p:cNvSpPr>
              <a:spLocks/>
            </p:cNvSpPr>
            <p:nvPr/>
          </p:nvSpPr>
          <p:spPr bwMode="auto">
            <a:xfrm>
              <a:off x="7555459" y="2316651"/>
              <a:ext cx="505158" cy="71513"/>
            </a:xfrm>
            <a:custGeom>
              <a:avLst/>
              <a:gdLst>
                <a:gd name="T0" fmla="*/ 654 w 664"/>
                <a:gd name="T1" fmla="*/ 8 h 94"/>
                <a:gd name="T2" fmla="*/ 654 w 664"/>
                <a:gd name="T3" fmla="*/ 8 h 94"/>
                <a:gd name="T4" fmla="*/ 648 w 664"/>
                <a:gd name="T5" fmla="*/ 4 h 94"/>
                <a:gd name="T6" fmla="*/ 640 w 664"/>
                <a:gd name="T7" fmla="*/ 2 h 94"/>
                <a:gd name="T8" fmla="*/ 630 w 664"/>
                <a:gd name="T9" fmla="*/ 0 h 94"/>
                <a:gd name="T10" fmla="*/ 618 w 664"/>
                <a:gd name="T11" fmla="*/ 0 h 94"/>
                <a:gd name="T12" fmla="*/ 46 w 664"/>
                <a:gd name="T13" fmla="*/ 0 h 94"/>
                <a:gd name="T14" fmla="*/ 46 w 664"/>
                <a:gd name="T15" fmla="*/ 0 h 94"/>
                <a:gd name="T16" fmla="*/ 34 w 664"/>
                <a:gd name="T17" fmla="*/ 0 h 94"/>
                <a:gd name="T18" fmla="*/ 24 w 664"/>
                <a:gd name="T19" fmla="*/ 2 h 94"/>
                <a:gd name="T20" fmla="*/ 16 w 664"/>
                <a:gd name="T21" fmla="*/ 4 h 94"/>
                <a:gd name="T22" fmla="*/ 10 w 664"/>
                <a:gd name="T23" fmla="*/ 8 h 94"/>
                <a:gd name="T24" fmla="*/ 10 w 664"/>
                <a:gd name="T25" fmla="*/ 8 h 94"/>
                <a:gd name="T26" fmla="*/ 6 w 664"/>
                <a:gd name="T27" fmla="*/ 16 h 94"/>
                <a:gd name="T28" fmla="*/ 2 w 664"/>
                <a:gd name="T29" fmla="*/ 24 h 94"/>
                <a:gd name="T30" fmla="*/ 0 w 664"/>
                <a:gd name="T31" fmla="*/ 34 h 94"/>
                <a:gd name="T32" fmla="*/ 0 w 664"/>
                <a:gd name="T33" fmla="*/ 46 h 94"/>
                <a:gd name="T34" fmla="*/ 0 w 664"/>
                <a:gd name="T35" fmla="*/ 46 h 94"/>
                <a:gd name="T36" fmla="*/ 0 w 664"/>
                <a:gd name="T37" fmla="*/ 58 h 94"/>
                <a:gd name="T38" fmla="*/ 2 w 664"/>
                <a:gd name="T39" fmla="*/ 70 h 94"/>
                <a:gd name="T40" fmla="*/ 6 w 664"/>
                <a:gd name="T41" fmla="*/ 78 h 94"/>
                <a:gd name="T42" fmla="*/ 10 w 664"/>
                <a:gd name="T43" fmla="*/ 84 h 94"/>
                <a:gd name="T44" fmla="*/ 10 w 664"/>
                <a:gd name="T45" fmla="*/ 84 h 94"/>
                <a:gd name="T46" fmla="*/ 16 w 664"/>
                <a:gd name="T47" fmla="*/ 88 h 94"/>
                <a:gd name="T48" fmla="*/ 24 w 664"/>
                <a:gd name="T49" fmla="*/ 92 h 94"/>
                <a:gd name="T50" fmla="*/ 34 w 664"/>
                <a:gd name="T51" fmla="*/ 94 h 94"/>
                <a:gd name="T52" fmla="*/ 46 w 664"/>
                <a:gd name="T53" fmla="*/ 94 h 94"/>
                <a:gd name="T54" fmla="*/ 618 w 664"/>
                <a:gd name="T55" fmla="*/ 94 h 94"/>
                <a:gd name="T56" fmla="*/ 618 w 664"/>
                <a:gd name="T57" fmla="*/ 94 h 94"/>
                <a:gd name="T58" fmla="*/ 630 w 664"/>
                <a:gd name="T59" fmla="*/ 94 h 94"/>
                <a:gd name="T60" fmla="*/ 640 w 664"/>
                <a:gd name="T61" fmla="*/ 90 h 94"/>
                <a:gd name="T62" fmla="*/ 650 w 664"/>
                <a:gd name="T63" fmla="*/ 86 h 94"/>
                <a:gd name="T64" fmla="*/ 656 w 664"/>
                <a:gd name="T65" fmla="*/ 80 h 94"/>
                <a:gd name="T66" fmla="*/ 656 w 664"/>
                <a:gd name="T67" fmla="*/ 80 h 94"/>
                <a:gd name="T68" fmla="*/ 660 w 664"/>
                <a:gd name="T69" fmla="*/ 72 h 94"/>
                <a:gd name="T70" fmla="*/ 662 w 664"/>
                <a:gd name="T71" fmla="*/ 66 h 94"/>
                <a:gd name="T72" fmla="*/ 664 w 664"/>
                <a:gd name="T73" fmla="*/ 56 h 94"/>
                <a:gd name="T74" fmla="*/ 664 w 664"/>
                <a:gd name="T75" fmla="*/ 46 h 94"/>
                <a:gd name="T76" fmla="*/ 664 w 664"/>
                <a:gd name="T77" fmla="*/ 46 h 94"/>
                <a:gd name="T78" fmla="*/ 664 w 664"/>
                <a:gd name="T79" fmla="*/ 32 h 94"/>
                <a:gd name="T80" fmla="*/ 662 w 664"/>
                <a:gd name="T81" fmla="*/ 22 h 94"/>
                <a:gd name="T82" fmla="*/ 660 w 664"/>
                <a:gd name="T83" fmla="*/ 14 h 94"/>
                <a:gd name="T84" fmla="*/ 654 w 664"/>
                <a:gd name="T85" fmla="*/ 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64" h="94">
                  <a:moveTo>
                    <a:pt x="654" y="8"/>
                  </a:moveTo>
                  <a:lnTo>
                    <a:pt x="654" y="8"/>
                  </a:lnTo>
                  <a:lnTo>
                    <a:pt x="648" y="4"/>
                  </a:lnTo>
                  <a:lnTo>
                    <a:pt x="640" y="2"/>
                  </a:lnTo>
                  <a:lnTo>
                    <a:pt x="630" y="0"/>
                  </a:lnTo>
                  <a:lnTo>
                    <a:pt x="618" y="0"/>
                  </a:lnTo>
                  <a:lnTo>
                    <a:pt x="46" y="0"/>
                  </a:lnTo>
                  <a:lnTo>
                    <a:pt x="46" y="0"/>
                  </a:lnTo>
                  <a:lnTo>
                    <a:pt x="34" y="0"/>
                  </a:lnTo>
                  <a:lnTo>
                    <a:pt x="24" y="2"/>
                  </a:lnTo>
                  <a:lnTo>
                    <a:pt x="16" y="4"/>
                  </a:lnTo>
                  <a:lnTo>
                    <a:pt x="10" y="8"/>
                  </a:lnTo>
                  <a:lnTo>
                    <a:pt x="10" y="8"/>
                  </a:lnTo>
                  <a:lnTo>
                    <a:pt x="6" y="16"/>
                  </a:lnTo>
                  <a:lnTo>
                    <a:pt x="2" y="24"/>
                  </a:lnTo>
                  <a:lnTo>
                    <a:pt x="0" y="34"/>
                  </a:lnTo>
                  <a:lnTo>
                    <a:pt x="0" y="46"/>
                  </a:lnTo>
                  <a:lnTo>
                    <a:pt x="0" y="46"/>
                  </a:lnTo>
                  <a:lnTo>
                    <a:pt x="0" y="58"/>
                  </a:lnTo>
                  <a:lnTo>
                    <a:pt x="2" y="70"/>
                  </a:lnTo>
                  <a:lnTo>
                    <a:pt x="6" y="78"/>
                  </a:lnTo>
                  <a:lnTo>
                    <a:pt x="10" y="84"/>
                  </a:lnTo>
                  <a:lnTo>
                    <a:pt x="10" y="84"/>
                  </a:lnTo>
                  <a:lnTo>
                    <a:pt x="16" y="88"/>
                  </a:lnTo>
                  <a:lnTo>
                    <a:pt x="24" y="92"/>
                  </a:lnTo>
                  <a:lnTo>
                    <a:pt x="34" y="94"/>
                  </a:lnTo>
                  <a:lnTo>
                    <a:pt x="46" y="94"/>
                  </a:lnTo>
                  <a:lnTo>
                    <a:pt x="618" y="94"/>
                  </a:lnTo>
                  <a:lnTo>
                    <a:pt x="618" y="94"/>
                  </a:lnTo>
                  <a:lnTo>
                    <a:pt x="630" y="94"/>
                  </a:lnTo>
                  <a:lnTo>
                    <a:pt x="640" y="90"/>
                  </a:lnTo>
                  <a:lnTo>
                    <a:pt x="650" y="86"/>
                  </a:lnTo>
                  <a:lnTo>
                    <a:pt x="656" y="80"/>
                  </a:lnTo>
                  <a:lnTo>
                    <a:pt x="656" y="80"/>
                  </a:lnTo>
                  <a:lnTo>
                    <a:pt x="660" y="72"/>
                  </a:lnTo>
                  <a:lnTo>
                    <a:pt x="662" y="66"/>
                  </a:lnTo>
                  <a:lnTo>
                    <a:pt x="664" y="56"/>
                  </a:lnTo>
                  <a:lnTo>
                    <a:pt x="664" y="46"/>
                  </a:lnTo>
                  <a:lnTo>
                    <a:pt x="664" y="46"/>
                  </a:lnTo>
                  <a:lnTo>
                    <a:pt x="664" y="32"/>
                  </a:lnTo>
                  <a:lnTo>
                    <a:pt x="662" y="22"/>
                  </a:lnTo>
                  <a:lnTo>
                    <a:pt x="660" y="14"/>
                  </a:lnTo>
                  <a:lnTo>
                    <a:pt x="654" y="8"/>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27" name="Freeform 27"/>
            <p:cNvSpPr>
              <a:spLocks/>
            </p:cNvSpPr>
            <p:nvPr/>
          </p:nvSpPr>
          <p:spPr bwMode="auto">
            <a:xfrm>
              <a:off x="7333312" y="2164495"/>
              <a:ext cx="223669" cy="721219"/>
            </a:xfrm>
            <a:custGeom>
              <a:avLst/>
              <a:gdLst>
                <a:gd name="T0" fmla="*/ 144 w 294"/>
                <a:gd name="T1" fmla="*/ 936 h 948"/>
                <a:gd name="T2" fmla="*/ 158 w 294"/>
                <a:gd name="T3" fmla="*/ 944 h 948"/>
                <a:gd name="T4" fmla="*/ 180 w 294"/>
                <a:gd name="T5" fmla="*/ 948 h 948"/>
                <a:gd name="T6" fmla="*/ 192 w 294"/>
                <a:gd name="T7" fmla="*/ 946 h 948"/>
                <a:gd name="T8" fmla="*/ 210 w 294"/>
                <a:gd name="T9" fmla="*/ 940 h 948"/>
                <a:gd name="T10" fmla="*/ 216 w 294"/>
                <a:gd name="T11" fmla="*/ 936 h 948"/>
                <a:gd name="T12" fmla="*/ 228 w 294"/>
                <a:gd name="T13" fmla="*/ 920 h 948"/>
                <a:gd name="T14" fmla="*/ 230 w 294"/>
                <a:gd name="T15" fmla="*/ 898 h 948"/>
                <a:gd name="T16" fmla="*/ 230 w 294"/>
                <a:gd name="T17" fmla="*/ 250 h 948"/>
                <a:gd name="T18" fmla="*/ 248 w 294"/>
                <a:gd name="T19" fmla="*/ 208 h 948"/>
                <a:gd name="T20" fmla="*/ 274 w 294"/>
                <a:gd name="T21" fmla="*/ 128 h 948"/>
                <a:gd name="T22" fmla="*/ 286 w 294"/>
                <a:gd name="T23" fmla="*/ 92 h 948"/>
                <a:gd name="T24" fmla="*/ 294 w 294"/>
                <a:gd name="T25" fmla="*/ 46 h 948"/>
                <a:gd name="T26" fmla="*/ 292 w 294"/>
                <a:gd name="T27" fmla="*/ 34 h 948"/>
                <a:gd name="T28" fmla="*/ 282 w 294"/>
                <a:gd name="T29" fmla="*/ 16 h 948"/>
                <a:gd name="T30" fmla="*/ 274 w 294"/>
                <a:gd name="T31" fmla="*/ 10 h 948"/>
                <a:gd name="T32" fmla="*/ 254 w 294"/>
                <a:gd name="T33" fmla="*/ 2 h 948"/>
                <a:gd name="T34" fmla="*/ 230 w 294"/>
                <a:gd name="T35" fmla="*/ 0 h 948"/>
                <a:gd name="T36" fmla="*/ 220 w 294"/>
                <a:gd name="T37" fmla="*/ 4 h 948"/>
                <a:gd name="T38" fmla="*/ 202 w 294"/>
                <a:gd name="T39" fmla="*/ 20 h 948"/>
                <a:gd name="T40" fmla="*/ 196 w 294"/>
                <a:gd name="T41" fmla="*/ 32 h 948"/>
                <a:gd name="T42" fmla="*/ 160 w 294"/>
                <a:gd name="T43" fmla="*/ 138 h 948"/>
                <a:gd name="T44" fmla="*/ 120 w 294"/>
                <a:gd name="T45" fmla="*/ 242 h 948"/>
                <a:gd name="T46" fmla="*/ 70 w 294"/>
                <a:gd name="T47" fmla="*/ 344 h 948"/>
                <a:gd name="T48" fmla="*/ 14 w 294"/>
                <a:gd name="T49" fmla="*/ 442 h 948"/>
                <a:gd name="T50" fmla="*/ 4 w 294"/>
                <a:gd name="T51" fmla="*/ 460 h 948"/>
                <a:gd name="T52" fmla="*/ 0 w 294"/>
                <a:gd name="T53" fmla="*/ 476 h 948"/>
                <a:gd name="T54" fmla="*/ 2 w 294"/>
                <a:gd name="T55" fmla="*/ 486 h 948"/>
                <a:gd name="T56" fmla="*/ 8 w 294"/>
                <a:gd name="T57" fmla="*/ 504 h 948"/>
                <a:gd name="T58" fmla="*/ 16 w 294"/>
                <a:gd name="T59" fmla="*/ 512 h 948"/>
                <a:gd name="T60" fmla="*/ 36 w 294"/>
                <a:gd name="T61" fmla="*/ 522 h 948"/>
                <a:gd name="T62" fmla="*/ 60 w 294"/>
                <a:gd name="T63" fmla="*/ 526 h 948"/>
                <a:gd name="T64" fmla="*/ 72 w 294"/>
                <a:gd name="T65" fmla="*/ 524 h 948"/>
                <a:gd name="T66" fmla="*/ 94 w 294"/>
                <a:gd name="T67" fmla="*/ 516 h 948"/>
                <a:gd name="T68" fmla="*/ 102 w 294"/>
                <a:gd name="T69" fmla="*/ 508 h 948"/>
                <a:gd name="T70" fmla="*/ 130 w 294"/>
                <a:gd name="T71" fmla="*/ 462 h 948"/>
                <a:gd name="T72" fmla="*/ 130 w 294"/>
                <a:gd name="T73" fmla="*/ 898 h 948"/>
                <a:gd name="T74" fmla="*/ 134 w 294"/>
                <a:gd name="T75" fmla="*/ 920 h 948"/>
                <a:gd name="T76" fmla="*/ 144 w 294"/>
                <a:gd name="T77" fmla="*/ 936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 h="948">
                  <a:moveTo>
                    <a:pt x="144" y="936"/>
                  </a:moveTo>
                  <a:lnTo>
                    <a:pt x="144" y="936"/>
                  </a:lnTo>
                  <a:lnTo>
                    <a:pt x="150" y="940"/>
                  </a:lnTo>
                  <a:lnTo>
                    <a:pt x="158" y="944"/>
                  </a:lnTo>
                  <a:lnTo>
                    <a:pt x="168" y="946"/>
                  </a:lnTo>
                  <a:lnTo>
                    <a:pt x="180" y="948"/>
                  </a:lnTo>
                  <a:lnTo>
                    <a:pt x="180" y="948"/>
                  </a:lnTo>
                  <a:lnTo>
                    <a:pt x="192" y="946"/>
                  </a:lnTo>
                  <a:lnTo>
                    <a:pt x="202" y="944"/>
                  </a:lnTo>
                  <a:lnTo>
                    <a:pt x="210" y="940"/>
                  </a:lnTo>
                  <a:lnTo>
                    <a:pt x="216" y="936"/>
                  </a:lnTo>
                  <a:lnTo>
                    <a:pt x="216" y="936"/>
                  </a:lnTo>
                  <a:lnTo>
                    <a:pt x="222" y="928"/>
                  </a:lnTo>
                  <a:lnTo>
                    <a:pt x="228" y="920"/>
                  </a:lnTo>
                  <a:lnTo>
                    <a:pt x="230" y="910"/>
                  </a:lnTo>
                  <a:lnTo>
                    <a:pt x="230" y="898"/>
                  </a:lnTo>
                  <a:lnTo>
                    <a:pt x="230" y="250"/>
                  </a:lnTo>
                  <a:lnTo>
                    <a:pt x="230" y="250"/>
                  </a:lnTo>
                  <a:lnTo>
                    <a:pt x="230" y="250"/>
                  </a:lnTo>
                  <a:lnTo>
                    <a:pt x="248" y="208"/>
                  </a:lnTo>
                  <a:lnTo>
                    <a:pt x="262" y="168"/>
                  </a:lnTo>
                  <a:lnTo>
                    <a:pt x="274" y="128"/>
                  </a:lnTo>
                  <a:lnTo>
                    <a:pt x="286" y="92"/>
                  </a:lnTo>
                  <a:lnTo>
                    <a:pt x="286" y="92"/>
                  </a:lnTo>
                  <a:lnTo>
                    <a:pt x="290" y="70"/>
                  </a:lnTo>
                  <a:lnTo>
                    <a:pt x="294" y="46"/>
                  </a:lnTo>
                  <a:lnTo>
                    <a:pt x="294" y="46"/>
                  </a:lnTo>
                  <a:lnTo>
                    <a:pt x="292" y="34"/>
                  </a:lnTo>
                  <a:lnTo>
                    <a:pt x="288" y="24"/>
                  </a:lnTo>
                  <a:lnTo>
                    <a:pt x="282" y="16"/>
                  </a:lnTo>
                  <a:lnTo>
                    <a:pt x="274" y="10"/>
                  </a:lnTo>
                  <a:lnTo>
                    <a:pt x="274" y="10"/>
                  </a:lnTo>
                  <a:lnTo>
                    <a:pt x="264" y="6"/>
                  </a:lnTo>
                  <a:lnTo>
                    <a:pt x="254" y="2"/>
                  </a:lnTo>
                  <a:lnTo>
                    <a:pt x="242" y="2"/>
                  </a:lnTo>
                  <a:lnTo>
                    <a:pt x="230" y="0"/>
                  </a:lnTo>
                  <a:lnTo>
                    <a:pt x="230" y="0"/>
                  </a:lnTo>
                  <a:lnTo>
                    <a:pt x="220" y="4"/>
                  </a:lnTo>
                  <a:lnTo>
                    <a:pt x="210" y="10"/>
                  </a:lnTo>
                  <a:lnTo>
                    <a:pt x="202" y="20"/>
                  </a:lnTo>
                  <a:lnTo>
                    <a:pt x="196" y="32"/>
                  </a:lnTo>
                  <a:lnTo>
                    <a:pt x="196" y="32"/>
                  </a:lnTo>
                  <a:lnTo>
                    <a:pt x="178" y="86"/>
                  </a:lnTo>
                  <a:lnTo>
                    <a:pt x="160" y="138"/>
                  </a:lnTo>
                  <a:lnTo>
                    <a:pt x="140" y="190"/>
                  </a:lnTo>
                  <a:lnTo>
                    <a:pt x="120" y="242"/>
                  </a:lnTo>
                  <a:lnTo>
                    <a:pt x="96" y="294"/>
                  </a:lnTo>
                  <a:lnTo>
                    <a:pt x="70" y="344"/>
                  </a:lnTo>
                  <a:lnTo>
                    <a:pt x="42" y="394"/>
                  </a:lnTo>
                  <a:lnTo>
                    <a:pt x="14" y="442"/>
                  </a:lnTo>
                  <a:lnTo>
                    <a:pt x="14" y="442"/>
                  </a:lnTo>
                  <a:lnTo>
                    <a:pt x="4" y="460"/>
                  </a:lnTo>
                  <a:lnTo>
                    <a:pt x="2" y="468"/>
                  </a:lnTo>
                  <a:lnTo>
                    <a:pt x="0" y="476"/>
                  </a:lnTo>
                  <a:lnTo>
                    <a:pt x="0" y="476"/>
                  </a:lnTo>
                  <a:lnTo>
                    <a:pt x="2" y="486"/>
                  </a:lnTo>
                  <a:lnTo>
                    <a:pt x="4" y="496"/>
                  </a:lnTo>
                  <a:lnTo>
                    <a:pt x="8" y="504"/>
                  </a:lnTo>
                  <a:lnTo>
                    <a:pt x="16" y="512"/>
                  </a:lnTo>
                  <a:lnTo>
                    <a:pt x="16" y="512"/>
                  </a:lnTo>
                  <a:lnTo>
                    <a:pt x="24" y="518"/>
                  </a:lnTo>
                  <a:lnTo>
                    <a:pt x="36" y="522"/>
                  </a:lnTo>
                  <a:lnTo>
                    <a:pt x="48" y="526"/>
                  </a:lnTo>
                  <a:lnTo>
                    <a:pt x="60" y="526"/>
                  </a:lnTo>
                  <a:lnTo>
                    <a:pt x="60" y="526"/>
                  </a:lnTo>
                  <a:lnTo>
                    <a:pt x="72" y="524"/>
                  </a:lnTo>
                  <a:lnTo>
                    <a:pt x="84" y="522"/>
                  </a:lnTo>
                  <a:lnTo>
                    <a:pt x="94" y="516"/>
                  </a:lnTo>
                  <a:lnTo>
                    <a:pt x="102" y="508"/>
                  </a:lnTo>
                  <a:lnTo>
                    <a:pt x="102" y="508"/>
                  </a:lnTo>
                  <a:lnTo>
                    <a:pt x="124" y="474"/>
                  </a:lnTo>
                  <a:lnTo>
                    <a:pt x="130" y="462"/>
                  </a:lnTo>
                  <a:lnTo>
                    <a:pt x="130" y="898"/>
                  </a:lnTo>
                  <a:lnTo>
                    <a:pt x="130" y="898"/>
                  </a:lnTo>
                  <a:lnTo>
                    <a:pt x="130" y="910"/>
                  </a:lnTo>
                  <a:lnTo>
                    <a:pt x="134" y="920"/>
                  </a:lnTo>
                  <a:lnTo>
                    <a:pt x="138" y="928"/>
                  </a:lnTo>
                  <a:lnTo>
                    <a:pt x="144" y="936"/>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28" name="Freeform 30"/>
            <p:cNvSpPr>
              <a:spLocks/>
            </p:cNvSpPr>
            <p:nvPr/>
          </p:nvSpPr>
          <p:spPr bwMode="auto">
            <a:xfrm>
              <a:off x="7579804" y="2435333"/>
              <a:ext cx="447339" cy="63906"/>
            </a:xfrm>
            <a:custGeom>
              <a:avLst/>
              <a:gdLst>
                <a:gd name="T0" fmla="*/ 546 w 588"/>
                <a:gd name="T1" fmla="*/ 0 h 84"/>
                <a:gd name="T2" fmla="*/ 42 w 588"/>
                <a:gd name="T3" fmla="*/ 0 h 84"/>
                <a:gd name="T4" fmla="*/ 42 w 588"/>
                <a:gd name="T5" fmla="*/ 0 h 84"/>
                <a:gd name="T6" fmla="*/ 32 w 588"/>
                <a:gd name="T7" fmla="*/ 0 h 84"/>
                <a:gd name="T8" fmla="*/ 22 w 588"/>
                <a:gd name="T9" fmla="*/ 2 h 84"/>
                <a:gd name="T10" fmla="*/ 16 w 588"/>
                <a:gd name="T11" fmla="*/ 4 h 84"/>
                <a:gd name="T12" fmla="*/ 10 w 588"/>
                <a:gd name="T13" fmla="*/ 8 h 84"/>
                <a:gd name="T14" fmla="*/ 10 w 588"/>
                <a:gd name="T15" fmla="*/ 8 h 84"/>
                <a:gd name="T16" fmla="*/ 6 w 588"/>
                <a:gd name="T17" fmla="*/ 16 h 84"/>
                <a:gd name="T18" fmla="*/ 2 w 588"/>
                <a:gd name="T19" fmla="*/ 22 h 84"/>
                <a:gd name="T20" fmla="*/ 0 w 588"/>
                <a:gd name="T21" fmla="*/ 32 h 84"/>
                <a:gd name="T22" fmla="*/ 0 w 588"/>
                <a:gd name="T23" fmla="*/ 42 h 84"/>
                <a:gd name="T24" fmla="*/ 0 w 588"/>
                <a:gd name="T25" fmla="*/ 42 h 84"/>
                <a:gd name="T26" fmla="*/ 0 w 588"/>
                <a:gd name="T27" fmla="*/ 54 h 84"/>
                <a:gd name="T28" fmla="*/ 2 w 588"/>
                <a:gd name="T29" fmla="*/ 62 h 84"/>
                <a:gd name="T30" fmla="*/ 6 w 588"/>
                <a:gd name="T31" fmla="*/ 70 h 84"/>
                <a:gd name="T32" fmla="*/ 10 w 588"/>
                <a:gd name="T33" fmla="*/ 74 h 84"/>
                <a:gd name="T34" fmla="*/ 10 w 588"/>
                <a:gd name="T35" fmla="*/ 74 h 84"/>
                <a:gd name="T36" fmla="*/ 16 w 588"/>
                <a:gd name="T37" fmla="*/ 80 h 84"/>
                <a:gd name="T38" fmla="*/ 24 w 588"/>
                <a:gd name="T39" fmla="*/ 82 h 84"/>
                <a:gd name="T40" fmla="*/ 32 w 588"/>
                <a:gd name="T41" fmla="*/ 84 h 84"/>
                <a:gd name="T42" fmla="*/ 42 w 588"/>
                <a:gd name="T43" fmla="*/ 84 h 84"/>
                <a:gd name="T44" fmla="*/ 546 w 588"/>
                <a:gd name="T45" fmla="*/ 84 h 84"/>
                <a:gd name="T46" fmla="*/ 546 w 588"/>
                <a:gd name="T47" fmla="*/ 84 h 84"/>
                <a:gd name="T48" fmla="*/ 556 w 588"/>
                <a:gd name="T49" fmla="*/ 84 h 84"/>
                <a:gd name="T50" fmla="*/ 566 w 588"/>
                <a:gd name="T51" fmla="*/ 82 h 84"/>
                <a:gd name="T52" fmla="*/ 574 w 588"/>
                <a:gd name="T53" fmla="*/ 76 h 84"/>
                <a:gd name="T54" fmla="*/ 580 w 588"/>
                <a:gd name="T55" fmla="*/ 72 h 84"/>
                <a:gd name="T56" fmla="*/ 580 w 588"/>
                <a:gd name="T57" fmla="*/ 72 h 84"/>
                <a:gd name="T58" fmla="*/ 584 w 588"/>
                <a:gd name="T59" fmla="*/ 66 h 84"/>
                <a:gd name="T60" fmla="*/ 586 w 588"/>
                <a:gd name="T61" fmla="*/ 60 h 84"/>
                <a:gd name="T62" fmla="*/ 588 w 588"/>
                <a:gd name="T63" fmla="*/ 42 h 84"/>
                <a:gd name="T64" fmla="*/ 588 w 588"/>
                <a:gd name="T65" fmla="*/ 42 h 84"/>
                <a:gd name="T66" fmla="*/ 586 w 588"/>
                <a:gd name="T67" fmla="*/ 30 h 84"/>
                <a:gd name="T68" fmla="*/ 586 w 588"/>
                <a:gd name="T69" fmla="*/ 22 h 84"/>
                <a:gd name="T70" fmla="*/ 582 w 588"/>
                <a:gd name="T71" fmla="*/ 14 h 84"/>
                <a:gd name="T72" fmla="*/ 578 w 588"/>
                <a:gd name="T73" fmla="*/ 8 h 84"/>
                <a:gd name="T74" fmla="*/ 578 w 588"/>
                <a:gd name="T75" fmla="*/ 8 h 84"/>
                <a:gd name="T76" fmla="*/ 572 w 588"/>
                <a:gd name="T77" fmla="*/ 4 h 84"/>
                <a:gd name="T78" fmla="*/ 564 w 588"/>
                <a:gd name="T79" fmla="*/ 2 h 84"/>
                <a:gd name="T80" fmla="*/ 556 w 588"/>
                <a:gd name="T81" fmla="*/ 0 h 84"/>
                <a:gd name="T82" fmla="*/ 546 w 588"/>
                <a:gd name="T8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8" h="84">
                  <a:moveTo>
                    <a:pt x="546" y="0"/>
                  </a:moveTo>
                  <a:lnTo>
                    <a:pt x="42" y="0"/>
                  </a:lnTo>
                  <a:lnTo>
                    <a:pt x="42" y="0"/>
                  </a:lnTo>
                  <a:lnTo>
                    <a:pt x="32" y="0"/>
                  </a:lnTo>
                  <a:lnTo>
                    <a:pt x="22" y="2"/>
                  </a:lnTo>
                  <a:lnTo>
                    <a:pt x="16" y="4"/>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4"/>
                  </a:lnTo>
                  <a:lnTo>
                    <a:pt x="546" y="84"/>
                  </a:lnTo>
                  <a:lnTo>
                    <a:pt x="546" y="84"/>
                  </a:lnTo>
                  <a:lnTo>
                    <a:pt x="556" y="84"/>
                  </a:lnTo>
                  <a:lnTo>
                    <a:pt x="566" y="82"/>
                  </a:lnTo>
                  <a:lnTo>
                    <a:pt x="574" y="76"/>
                  </a:lnTo>
                  <a:lnTo>
                    <a:pt x="580" y="72"/>
                  </a:lnTo>
                  <a:lnTo>
                    <a:pt x="580" y="72"/>
                  </a:lnTo>
                  <a:lnTo>
                    <a:pt x="584" y="66"/>
                  </a:lnTo>
                  <a:lnTo>
                    <a:pt x="586" y="60"/>
                  </a:lnTo>
                  <a:lnTo>
                    <a:pt x="588" y="42"/>
                  </a:lnTo>
                  <a:lnTo>
                    <a:pt x="588" y="42"/>
                  </a:lnTo>
                  <a:lnTo>
                    <a:pt x="586" y="30"/>
                  </a:lnTo>
                  <a:lnTo>
                    <a:pt x="586" y="22"/>
                  </a:lnTo>
                  <a:lnTo>
                    <a:pt x="582" y="14"/>
                  </a:lnTo>
                  <a:lnTo>
                    <a:pt x="578" y="8"/>
                  </a:lnTo>
                  <a:lnTo>
                    <a:pt x="578" y="8"/>
                  </a:lnTo>
                  <a:lnTo>
                    <a:pt x="572" y="4"/>
                  </a:lnTo>
                  <a:lnTo>
                    <a:pt x="564" y="2"/>
                  </a:lnTo>
                  <a:lnTo>
                    <a:pt x="556" y="0"/>
                  </a:lnTo>
                  <a:lnTo>
                    <a:pt x="546" y="0"/>
                  </a:lnTo>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29" name="Freeform 31"/>
            <p:cNvSpPr>
              <a:spLocks/>
            </p:cNvSpPr>
            <p:nvPr/>
          </p:nvSpPr>
          <p:spPr bwMode="auto">
            <a:xfrm>
              <a:off x="7579804" y="2544885"/>
              <a:ext cx="447339" cy="65427"/>
            </a:xfrm>
            <a:custGeom>
              <a:avLst/>
              <a:gdLst>
                <a:gd name="T0" fmla="*/ 546 w 588"/>
                <a:gd name="T1" fmla="*/ 0 h 86"/>
                <a:gd name="T2" fmla="*/ 42 w 588"/>
                <a:gd name="T3" fmla="*/ 0 h 86"/>
                <a:gd name="T4" fmla="*/ 42 w 588"/>
                <a:gd name="T5" fmla="*/ 0 h 86"/>
                <a:gd name="T6" fmla="*/ 22 w 588"/>
                <a:gd name="T7" fmla="*/ 2 h 86"/>
                <a:gd name="T8" fmla="*/ 16 w 588"/>
                <a:gd name="T9" fmla="*/ 6 h 86"/>
                <a:gd name="T10" fmla="*/ 10 w 588"/>
                <a:gd name="T11" fmla="*/ 8 h 86"/>
                <a:gd name="T12" fmla="*/ 10 w 588"/>
                <a:gd name="T13" fmla="*/ 8 h 86"/>
                <a:gd name="T14" fmla="*/ 6 w 588"/>
                <a:gd name="T15" fmla="*/ 16 h 86"/>
                <a:gd name="T16" fmla="*/ 2 w 588"/>
                <a:gd name="T17" fmla="*/ 22 h 86"/>
                <a:gd name="T18" fmla="*/ 0 w 588"/>
                <a:gd name="T19" fmla="*/ 32 h 86"/>
                <a:gd name="T20" fmla="*/ 0 w 588"/>
                <a:gd name="T21" fmla="*/ 42 h 86"/>
                <a:gd name="T22" fmla="*/ 0 w 588"/>
                <a:gd name="T23" fmla="*/ 42 h 86"/>
                <a:gd name="T24" fmla="*/ 0 w 588"/>
                <a:gd name="T25" fmla="*/ 54 h 86"/>
                <a:gd name="T26" fmla="*/ 2 w 588"/>
                <a:gd name="T27" fmla="*/ 62 h 86"/>
                <a:gd name="T28" fmla="*/ 6 w 588"/>
                <a:gd name="T29" fmla="*/ 70 h 86"/>
                <a:gd name="T30" fmla="*/ 10 w 588"/>
                <a:gd name="T31" fmla="*/ 74 h 86"/>
                <a:gd name="T32" fmla="*/ 10 w 588"/>
                <a:gd name="T33" fmla="*/ 74 h 86"/>
                <a:gd name="T34" fmla="*/ 16 w 588"/>
                <a:gd name="T35" fmla="*/ 80 h 86"/>
                <a:gd name="T36" fmla="*/ 24 w 588"/>
                <a:gd name="T37" fmla="*/ 82 h 86"/>
                <a:gd name="T38" fmla="*/ 32 w 588"/>
                <a:gd name="T39" fmla="*/ 84 h 86"/>
                <a:gd name="T40" fmla="*/ 42 w 588"/>
                <a:gd name="T41" fmla="*/ 86 h 86"/>
                <a:gd name="T42" fmla="*/ 546 w 588"/>
                <a:gd name="T43" fmla="*/ 86 h 86"/>
                <a:gd name="T44" fmla="*/ 546 w 588"/>
                <a:gd name="T45" fmla="*/ 86 h 86"/>
                <a:gd name="T46" fmla="*/ 556 w 588"/>
                <a:gd name="T47" fmla="*/ 84 h 86"/>
                <a:gd name="T48" fmla="*/ 566 w 588"/>
                <a:gd name="T49" fmla="*/ 82 h 86"/>
                <a:gd name="T50" fmla="*/ 574 w 588"/>
                <a:gd name="T51" fmla="*/ 78 h 86"/>
                <a:gd name="T52" fmla="*/ 580 w 588"/>
                <a:gd name="T53" fmla="*/ 70 h 86"/>
                <a:gd name="T54" fmla="*/ 580 w 588"/>
                <a:gd name="T55" fmla="*/ 70 h 86"/>
                <a:gd name="T56" fmla="*/ 584 w 588"/>
                <a:gd name="T57" fmla="*/ 66 h 86"/>
                <a:gd name="T58" fmla="*/ 586 w 588"/>
                <a:gd name="T59" fmla="*/ 60 h 86"/>
                <a:gd name="T60" fmla="*/ 588 w 588"/>
                <a:gd name="T61" fmla="*/ 42 h 86"/>
                <a:gd name="T62" fmla="*/ 588 w 588"/>
                <a:gd name="T63" fmla="*/ 42 h 86"/>
                <a:gd name="T64" fmla="*/ 586 w 588"/>
                <a:gd name="T65" fmla="*/ 32 h 86"/>
                <a:gd name="T66" fmla="*/ 586 w 588"/>
                <a:gd name="T67" fmla="*/ 22 h 86"/>
                <a:gd name="T68" fmla="*/ 582 w 588"/>
                <a:gd name="T69" fmla="*/ 14 h 86"/>
                <a:gd name="T70" fmla="*/ 578 w 588"/>
                <a:gd name="T71" fmla="*/ 8 h 86"/>
                <a:gd name="T72" fmla="*/ 578 w 588"/>
                <a:gd name="T73" fmla="*/ 8 h 86"/>
                <a:gd name="T74" fmla="*/ 572 w 588"/>
                <a:gd name="T75" fmla="*/ 6 h 86"/>
                <a:gd name="T76" fmla="*/ 564 w 588"/>
                <a:gd name="T77" fmla="*/ 2 h 86"/>
                <a:gd name="T78" fmla="*/ 546 w 588"/>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6">
                  <a:moveTo>
                    <a:pt x="546" y="0"/>
                  </a:moveTo>
                  <a:lnTo>
                    <a:pt x="42" y="0"/>
                  </a:lnTo>
                  <a:lnTo>
                    <a:pt x="42" y="0"/>
                  </a:lnTo>
                  <a:lnTo>
                    <a:pt x="22" y="2"/>
                  </a:lnTo>
                  <a:lnTo>
                    <a:pt x="16" y="6"/>
                  </a:lnTo>
                  <a:lnTo>
                    <a:pt x="10" y="8"/>
                  </a:lnTo>
                  <a:lnTo>
                    <a:pt x="10" y="8"/>
                  </a:lnTo>
                  <a:lnTo>
                    <a:pt x="6" y="16"/>
                  </a:lnTo>
                  <a:lnTo>
                    <a:pt x="2" y="22"/>
                  </a:lnTo>
                  <a:lnTo>
                    <a:pt x="0" y="32"/>
                  </a:lnTo>
                  <a:lnTo>
                    <a:pt x="0" y="42"/>
                  </a:lnTo>
                  <a:lnTo>
                    <a:pt x="0" y="42"/>
                  </a:lnTo>
                  <a:lnTo>
                    <a:pt x="0" y="54"/>
                  </a:lnTo>
                  <a:lnTo>
                    <a:pt x="2" y="62"/>
                  </a:lnTo>
                  <a:lnTo>
                    <a:pt x="6" y="70"/>
                  </a:lnTo>
                  <a:lnTo>
                    <a:pt x="10" y="74"/>
                  </a:lnTo>
                  <a:lnTo>
                    <a:pt x="10" y="74"/>
                  </a:lnTo>
                  <a:lnTo>
                    <a:pt x="16" y="80"/>
                  </a:lnTo>
                  <a:lnTo>
                    <a:pt x="24" y="82"/>
                  </a:lnTo>
                  <a:lnTo>
                    <a:pt x="32" y="84"/>
                  </a:lnTo>
                  <a:lnTo>
                    <a:pt x="42" y="86"/>
                  </a:lnTo>
                  <a:lnTo>
                    <a:pt x="546" y="86"/>
                  </a:lnTo>
                  <a:lnTo>
                    <a:pt x="546" y="86"/>
                  </a:lnTo>
                  <a:lnTo>
                    <a:pt x="556" y="84"/>
                  </a:lnTo>
                  <a:lnTo>
                    <a:pt x="566" y="82"/>
                  </a:lnTo>
                  <a:lnTo>
                    <a:pt x="574" y="78"/>
                  </a:lnTo>
                  <a:lnTo>
                    <a:pt x="580" y="70"/>
                  </a:lnTo>
                  <a:lnTo>
                    <a:pt x="580" y="70"/>
                  </a:lnTo>
                  <a:lnTo>
                    <a:pt x="584" y="66"/>
                  </a:lnTo>
                  <a:lnTo>
                    <a:pt x="586" y="60"/>
                  </a:lnTo>
                  <a:lnTo>
                    <a:pt x="588" y="42"/>
                  </a:lnTo>
                  <a:lnTo>
                    <a:pt x="588" y="42"/>
                  </a:lnTo>
                  <a:lnTo>
                    <a:pt x="586" y="32"/>
                  </a:lnTo>
                  <a:lnTo>
                    <a:pt x="586" y="22"/>
                  </a:lnTo>
                  <a:lnTo>
                    <a:pt x="582" y="14"/>
                  </a:lnTo>
                  <a:lnTo>
                    <a:pt x="578" y="8"/>
                  </a:lnTo>
                  <a:lnTo>
                    <a:pt x="578" y="8"/>
                  </a:lnTo>
                  <a:lnTo>
                    <a:pt x="572" y="6"/>
                  </a:lnTo>
                  <a:lnTo>
                    <a:pt x="564" y="2"/>
                  </a:lnTo>
                  <a:lnTo>
                    <a:pt x="546" y="0"/>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38" name="Freeform 33"/>
            <p:cNvSpPr>
              <a:spLocks noEditPoints="1"/>
            </p:cNvSpPr>
            <p:nvPr/>
          </p:nvSpPr>
          <p:spPr bwMode="auto">
            <a:xfrm>
              <a:off x="7585891" y="2659002"/>
              <a:ext cx="435166" cy="217583"/>
            </a:xfrm>
            <a:custGeom>
              <a:avLst/>
              <a:gdLst>
                <a:gd name="T0" fmla="*/ 500 w 572"/>
                <a:gd name="T1" fmla="*/ 286 h 286"/>
                <a:gd name="T2" fmla="*/ 518 w 572"/>
                <a:gd name="T3" fmla="*/ 286 h 286"/>
                <a:gd name="T4" fmla="*/ 544 w 572"/>
                <a:gd name="T5" fmla="*/ 276 h 286"/>
                <a:gd name="T6" fmla="*/ 562 w 572"/>
                <a:gd name="T7" fmla="*/ 260 h 286"/>
                <a:gd name="T8" fmla="*/ 570 w 572"/>
                <a:gd name="T9" fmla="*/ 232 h 286"/>
                <a:gd name="T10" fmla="*/ 572 w 572"/>
                <a:gd name="T11" fmla="*/ 70 h 286"/>
                <a:gd name="T12" fmla="*/ 570 w 572"/>
                <a:gd name="T13" fmla="*/ 54 h 286"/>
                <a:gd name="T14" fmla="*/ 562 w 572"/>
                <a:gd name="T15" fmla="*/ 26 h 286"/>
                <a:gd name="T16" fmla="*/ 544 w 572"/>
                <a:gd name="T17" fmla="*/ 8 h 286"/>
                <a:gd name="T18" fmla="*/ 518 w 572"/>
                <a:gd name="T19" fmla="*/ 0 h 286"/>
                <a:gd name="T20" fmla="*/ 70 w 572"/>
                <a:gd name="T21" fmla="*/ 0 h 286"/>
                <a:gd name="T22" fmla="*/ 54 w 572"/>
                <a:gd name="T23" fmla="*/ 0 h 286"/>
                <a:gd name="T24" fmla="*/ 28 w 572"/>
                <a:gd name="T25" fmla="*/ 8 h 286"/>
                <a:gd name="T26" fmla="*/ 10 w 572"/>
                <a:gd name="T27" fmla="*/ 26 h 286"/>
                <a:gd name="T28" fmla="*/ 2 w 572"/>
                <a:gd name="T29" fmla="*/ 54 h 286"/>
                <a:gd name="T30" fmla="*/ 0 w 572"/>
                <a:gd name="T31" fmla="*/ 216 h 286"/>
                <a:gd name="T32" fmla="*/ 2 w 572"/>
                <a:gd name="T33" fmla="*/ 232 h 286"/>
                <a:gd name="T34" fmla="*/ 10 w 572"/>
                <a:gd name="T35" fmla="*/ 260 h 286"/>
                <a:gd name="T36" fmla="*/ 28 w 572"/>
                <a:gd name="T37" fmla="*/ 276 h 286"/>
                <a:gd name="T38" fmla="*/ 54 w 572"/>
                <a:gd name="T39" fmla="*/ 286 h 286"/>
                <a:gd name="T40" fmla="*/ 104 w 572"/>
                <a:gd name="T41" fmla="*/ 112 h 286"/>
                <a:gd name="T42" fmla="*/ 106 w 572"/>
                <a:gd name="T43" fmla="*/ 100 h 286"/>
                <a:gd name="T44" fmla="*/ 112 w 572"/>
                <a:gd name="T45" fmla="*/ 90 h 286"/>
                <a:gd name="T46" fmla="*/ 120 w 572"/>
                <a:gd name="T47" fmla="*/ 86 h 286"/>
                <a:gd name="T48" fmla="*/ 438 w 572"/>
                <a:gd name="T49" fmla="*/ 84 h 286"/>
                <a:gd name="T50" fmla="*/ 450 w 572"/>
                <a:gd name="T51" fmla="*/ 86 h 286"/>
                <a:gd name="T52" fmla="*/ 464 w 572"/>
                <a:gd name="T53" fmla="*/ 100 h 286"/>
                <a:gd name="T54" fmla="*/ 466 w 572"/>
                <a:gd name="T55" fmla="*/ 174 h 286"/>
                <a:gd name="T56" fmla="*/ 464 w 572"/>
                <a:gd name="T57" fmla="*/ 186 h 286"/>
                <a:gd name="T58" fmla="*/ 450 w 572"/>
                <a:gd name="T59" fmla="*/ 200 h 286"/>
                <a:gd name="T60" fmla="*/ 134 w 572"/>
                <a:gd name="T61" fmla="*/ 202 h 286"/>
                <a:gd name="T62" fmla="*/ 120 w 572"/>
                <a:gd name="T63" fmla="*/ 200 h 286"/>
                <a:gd name="T64" fmla="*/ 112 w 572"/>
                <a:gd name="T65" fmla="*/ 194 h 286"/>
                <a:gd name="T66" fmla="*/ 106 w 572"/>
                <a:gd name="T67" fmla="*/ 186 h 286"/>
                <a:gd name="T68" fmla="*/ 104 w 572"/>
                <a:gd name="T69" fmla="*/ 11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2" h="286">
                  <a:moveTo>
                    <a:pt x="70" y="286"/>
                  </a:moveTo>
                  <a:lnTo>
                    <a:pt x="500" y="286"/>
                  </a:lnTo>
                  <a:lnTo>
                    <a:pt x="500" y="286"/>
                  </a:lnTo>
                  <a:lnTo>
                    <a:pt x="518" y="286"/>
                  </a:lnTo>
                  <a:lnTo>
                    <a:pt x="532" y="282"/>
                  </a:lnTo>
                  <a:lnTo>
                    <a:pt x="544" y="276"/>
                  </a:lnTo>
                  <a:lnTo>
                    <a:pt x="554" y="270"/>
                  </a:lnTo>
                  <a:lnTo>
                    <a:pt x="562" y="260"/>
                  </a:lnTo>
                  <a:lnTo>
                    <a:pt x="566" y="246"/>
                  </a:lnTo>
                  <a:lnTo>
                    <a:pt x="570" y="232"/>
                  </a:lnTo>
                  <a:lnTo>
                    <a:pt x="572" y="216"/>
                  </a:lnTo>
                  <a:lnTo>
                    <a:pt x="572" y="70"/>
                  </a:lnTo>
                  <a:lnTo>
                    <a:pt x="572" y="70"/>
                  </a:lnTo>
                  <a:lnTo>
                    <a:pt x="570" y="54"/>
                  </a:lnTo>
                  <a:lnTo>
                    <a:pt x="566" y="38"/>
                  </a:lnTo>
                  <a:lnTo>
                    <a:pt x="562" y="26"/>
                  </a:lnTo>
                  <a:lnTo>
                    <a:pt x="554" y="16"/>
                  </a:lnTo>
                  <a:lnTo>
                    <a:pt x="544" y="8"/>
                  </a:lnTo>
                  <a:lnTo>
                    <a:pt x="532" y="4"/>
                  </a:lnTo>
                  <a:lnTo>
                    <a:pt x="518" y="0"/>
                  </a:lnTo>
                  <a:lnTo>
                    <a:pt x="500" y="0"/>
                  </a:lnTo>
                  <a:lnTo>
                    <a:pt x="70" y="0"/>
                  </a:lnTo>
                  <a:lnTo>
                    <a:pt x="70" y="0"/>
                  </a:lnTo>
                  <a:lnTo>
                    <a:pt x="54" y="0"/>
                  </a:lnTo>
                  <a:lnTo>
                    <a:pt x="40" y="4"/>
                  </a:lnTo>
                  <a:lnTo>
                    <a:pt x="28" y="8"/>
                  </a:lnTo>
                  <a:lnTo>
                    <a:pt x="18" y="16"/>
                  </a:lnTo>
                  <a:lnTo>
                    <a:pt x="10" y="26"/>
                  </a:lnTo>
                  <a:lnTo>
                    <a:pt x="4" y="38"/>
                  </a:lnTo>
                  <a:lnTo>
                    <a:pt x="2" y="54"/>
                  </a:lnTo>
                  <a:lnTo>
                    <a:pt x="0" y="70"/>
                  </a:lnTo>
                  <a:lnTo>
                    <a:pt x="0" y="216"/>
                  </a:lnTo>
                  <a:lnTo>
                    <a:pt x="0" y="216"/>
                  </a:lnTo>
                  <a:lnTo>
                    <a:pt x="2" y="232"/>
                  </a:lnTo>
                  <a:lnTo>
                    <a:pt x="4" y="246"/>
                  </a:lnTo>
                  <a:lnTo>
                    <a:pt x="10" y="260"/>
                  </a:lnTo>
                  <a:lnTo>
                    <a:pt x="18" y="270"/>
                  </a:lnTo>
                  <a:lnTo>
                    <a:pt x="28" y="276"/>
                  </a:lnTo>
                  <a:lnTo>
                    <a:pt x="40" y="282"/>
                  </a:lnTo>
                  <a:lnTo>
                    <a:pt x="54" y="286"/>
                  </a:lnTo>
                  <a:lnTo>
                    <a:pt x="70" y="286"/>
                  </a:lnTo>
                  <a:close/>
                  <a:moveTo>
                    <a:pt x="104" y="112"/>
                  </a:moveTo>
                  <a:lnTo>
                    <a:pt x="104" y="112"/>
                  </a:lnTo>
                  <a:lnTo>
                    <a:pt x="106" y="100"/>
                  </a:lnTo>
                  <a:lnTo>
                    <a:pt x="108" y="94"/>
                  </a:lnTo>
                  <a:lnTo>
                    <a:pt x="112" y="90"/>
                  </a:lnTo>
                  <a:lnTo>
                    <a:pt x="116" y="88"/>
                  </a:lnTo>
                  <a:lnTo>
                    <a:pt x="120" y="86"/>
                  </a:lnTo>
                  <a:lnTo>
                    <a:pt x="134" y="84"/>
                  </a:lnTo>
                  <a:lnTo>
                    <a:pt x="438" y="84"/>
                  </a:lnTo>
                  <a:lnTo>
                    <a:pt x="438" y="84"/>
                  </a:lnTo>
                  <a:lnTo>
                    <a:pt x="450" y="86"/>
                  </a:lnTo>
                  <a:lnTo>
                    <a:pt x="458" y="90"/>
                  </a:lnTo>
                  <a:lnTo>
                    <a:pt x="464" y="100"/>
                  </a:lnTo>
                  <a:lnTo>
                    <a:pt x="466" y="112"/>
                  </a:lnTo>
                  <a:lnTo>
                    <a:pt x="466" y="174"/>
                  </a:lnTo>
                  <a:lnTo>
                    <a:pt x="466" y="174"/>
                  </a:lnTo>
                  <a:lnTo>
                    <a:pt x="464" y="186"/>
                  </a:lnTo>
                  <a:lnTo>
                    <a:pt x="458" y="194"/>
                  </a:lnTo>
                  <a:lnTo>
                    <a:pt x="450" y="200"/>
                  </a:lnTo>
                  <a:lnTo>
                    <a:pt x="438" y="202"/>
                  </a:lnTo>
                  <a:lnTo>
                    <a:pt x="134" y="202"/>
                  </a:lnTo>
                  <a:lnTo>
                    <a:pt x="134" y="202"/>
                  </a:lnTo>
                  <a:lnTo>
                    <a:pt x="120" y="200"/>
                  </a:lnTo>
                  <a:lnTo>
                    <a:pt x="116" y="198"/>
                  </a:lnTo>
                  <a:lnTo>
                    <a:pt x="112" y="194"/>
                  </a:lnTo>
                  <a:lnTo>
                    <a:pt x="108" y="190"/>
                  </a:lnTo>
                  <a:lnTo>
                    <a:pt x="106" y="186"/>
                  </a:lnTo>
                  <a:lnTo>
                    <a:pt x="104" y="174"/>
                  </a:lnTo>
                  <a:lnTo>
                    <a:pt x="104" y="112"/>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39" name="Freeform 36"/>
            <p:cNvSpPr>
              <a:spLocks/>
            </p:cNvSpPr>
            <p:nvPr/>
          </p:nvSpPr>
          <p:spPr bwMode="auto">
            <a:xfrm>
              <a:off x="8701194" y="1691290"/>
              <a:ext cx="208454" cy="213018"/>
            </a:xfrm>
            <a:custGeom>
              <a:avLst/>
              <a:gdLst>
                <a:gd name="T0" fmla="*/ 0 w 274"/>
                <a:gd name="T1" fmla="*/ 140 h 280"/>
                <a:gd name="T2" fmla="*/ 4 w 274"/>
                <a:gd name="T3" fmla="*/ 112 h 280"/>
                <a:gd name="T4" fmla="*/ 12 w 274"/>
                <a:gd name="T5" fmla="*/ 86 h 280"/>
                <a:gd name="T6" fmla="*/ 24 w 274"/>
                <a:gd name="T7" fmla="*/ 62 h 280"/>
                <a:gd name="T8" fmla="*/ 40 w 274"/>
                <a:gd name="T9" fmla="*/ 42 h 280"/>
                <a:gd name="T10" fmla="*/ 60 w 274"/>
                <a:gd name="T11" fmla="*/ 24 h 280"/>
                <a:gd name="T12" fmla="*/ 84 w 274"/>
                <a:gd name="T13" fmla="*/ 12 h 280"/>
                <a:gd name="T14" fmla="*/ 110 w 274"/>
                <a:gd name="T15" fmla="*/ 4 h 280"/>
                <a:gd name="T16" fmla="*/ 138 w 274"/>
                <a:gd name="T17" fmla="*/ 0 h 280"/>
                <a:gd name="T18" fmla="*/ 152 w 274"/>
                <a:gd name="T19" fmla="*/ 2 h 280"/>
                <a:gd name="T20" fmla="*/ 178 w 274"/>
                <a:gd name="T21" fmla="*/ 8 h 280"/>
                <a:gd name="T22" fmla="*/ 202 w 274"/>
                <a:gd name="T23" fmla="*/ 18 h 280"/>
                <a:gd name="T24" fmla="*/ 224 w 274"/>
                <a:gd name="T25" fmla="*/ 32 h 280"/>
                <a:gd name="T26" fmla="*/ 242 w 274"/>
                <a:gd name="T27" fmla="*/ 52 h 280"/>
                <a:gd name="T28" fmla="*/ 256 w 274"/>
                <a:gd name="T29" fmla="*/ 74 h 280"/>
                <a:gd name="T30" fmla="*/ 268 w 274"/>
                <a:gd name="T31" fmla="*/ 98 h 280"/>
                <a:gd name="T32" fmla="*/ 272 w 274"/>
                <a:gd name="T33" fmla="*/ 126 h 280"/>
                <a:gd name="T34" fmla="*/ 274 w 274"/>
                <a:gd name="T35" fmla="*/ 140 h 280"/>
                <a:gd name="T36" fmla="*/ 270 w 274"/>
                <a:gd name="T37" fmla="*/ 168 h 280"/>
                <a:gd name="T38" fmla="*/ 262 w 274"/>
                <a:gd name="T39" fmla="*/ 194 h 280"/>
                <a:gd name="T40" fmla="*/ 250 w 274"/>
                <a:gd name="T41" fmla="*/ 218 h 280"/>
                <a:gd name="T42" fmla="*/ 234 w 274"/>
                <a:gd name="T43" fmla="*/ 238 h 280"/>
                <a:gd name="T44" fmla="*/ 214 w 274"/>
                <a:gd name="T45" fmla="*/ 256 h 280"/>
                <a:gd name="T46" fmla="*/ 190 w 274"/>
                <a:gd name="T47" fmla="*/ 268 h 280"/>
                <a:gd name="T48" fmla="*/ 164 w 274"/>
                <a:gd name="T49" fmla="*/ 276 h 280"/>
                <a:gd name="T50" fmla="*/ 138 w 274"/>
                <a:gd name="T51" fmla="*/ 280 h 280"/>
                <a:gd name="T52" fmla="*/ 124 w 274"/>
                <a:gd name="T53" fmla="*/ 280 h 280"/>
                <a:gd name="T54" fmla="*/ 96 w 274"/>
                <a:gd name="T55" fmla="*/ 274 h 280"/>
                <a:gd name="T56" fmla="*/ 72 w 274"/>
                <a:gd name="T57" fmla="*/ 262 h 280"/>
                <a:gd name="T58" fmla="*/ 50 w 274"/>
                <a:gd name="T59" fmla="*/ 248 h 280"/>
                <a:gd name="T60" fmla="*/ 32 w 274"/>
                <a:gd name="T61" fmla="*/ 230 h 280"/>
                <a:gd name="T62" fmla="*/ 18 w 274"/>
                <a:gd name="T63" fmla="*/ 206 h 280"/>
                <a:gd name="T64" fmla="*/ 8 w 274"/>
                <a:gd name="T65" fmla="*/ 182 h 280"/>
                <a:gd name="T66" fmla="*/ 2 w 274"/>
                <a:gd name="T67" fmla="*/ 15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80">
                  <a:moveTo>
                    <a:pt x="0" y="140"/>
                  </a:moveTo>
                  <a:lnTo>
                    <a:pt x="0" y="140"/>
                  </a:lnTo>
                  <a:lnTo>
                    <a:pt x="2" y="126"/>
                  </a:lnTo>
                  <a:lnTo>
                    <a:pt x="4" y="112"/>
                  </a:lnTo>
                  <a:lnTo>
                    <a:pt x="8" y="98"/>
                  </a:lnTo>
                  <a:lnTo>
                    <a:pt x="12" y="86"/>
                  </a:lnTo>
                  <a:lnTo>
                    <a:pt x="18" y="74"/>
                  </a:lnTo>
                  <a:lnTo>
                    <a:pt x="24" y="62"/>
                  </a:lnTo>
                  <a:lnTo>
                    <a:pt x="32" y="52"/>
                  </a:lnTo>
                  <a:lnTo>
                    <a:pt x="40" y="42"/>
                  </a:lnTo>
                  <a:lnTo>
                    <a:pt x="50" y="32"/>
                  </a:lnTo>
                  <a:lnTo>
                    <a:pt x="60" y="24"/>
                  </a:lnTo>
                  <a:lnTo>
                    <a:pt x="72" y="18"/>
                  </a:lnTo>
                  <a:lnTo>
                    <a:pt x="84" y="12"/>
                  </a:lnTo>
                  <a:lnTo>
                    <a:pt x="96" y="8"/>
                  </a:lnTo>
                  <a:lnTo>
                    <a:pt x="110" y="4"/>
                  </a:lnTo>
                  <a:lnTo>
                    <a:pt x="124" y="2"/>
                  </a:lnTo>
                  <a:lnTo>
                    <a:pt x="138" y="0"/>
                  </a:lnTo>
                  <a:lnTo>
                    <a:pt x="138" y="0"/>
                  </a:lnTo>
                  <a:lnTo>
                    <a:pt x="152" y="2"/>
                  </a:lnTo>
                  <a:lnTo>
                    <a:pt x="164" y="4"/>
                  </a:lnTo>
                  <a:lnTo>
                    <a:pt x="178" y="8"/>
                  </a:lnTo>
                  <a:lnTo>
                    <a:pt x="190" y="12"/>
                  </a:lnTo>
                  <a:lnTo>
                    <a:pt x="202" y="18"/>
                  </a:lnTo>
                  <a:lnTo>
                    <a:pt x="214" y="24"/>
                  </a:lnTo>
                  <a:lnTo>
                    <a:pt x="224" y="32"/>
                  </a:lnTo>
                  <a:lnTo>
                    <a:pt x="234" y="42"/>
                  </a:lnTo>
                  <a:lnTo>
                    <a:pt x="242" y="52"/>
                  </a:lnTo>
                  <a:lnTo>
                    <a:pt x="250" y="62"/>
                  </a:lnTo>
                  <a:lnTo>
                    <a:pt x="256" y="74"/>
                  </a:lnTo>
                  <a:lnTo>
                    <a:pt x="262" y="86"/>
                  </a:lnTo>
                  <a:lnTo>
                    <a:pt x="268" y="98"/>
                  </a:lnTo>
                  <a:lnTo>
                    <a:pt x="270" y="112"/>
                  </a:lnTo>
                  <a:lnTo>
                    <a:pt x="272" y="126"/>
                  </a:lnTo>
                  <a:lnTo>
                    <a:pt x="274" y="140"/>
                  </a:lnTo>
                  <a:lnTo>
                    <a:pt x="274" y="140"/>
                  </a:lnTo>
                  <a:lnTo>
                    <a:pt x="272" y="154"/>
                  </a:lnTo>
                  <a:lnTo>
                    <a:pt x="270" y="168"/>
                  </a:lnTo>
                  <a:lnTo>
                    <a:pt x="268" y="182"/>
                  </a:lnTo>
                  <a:lnTo>
                    <a:pt x="262" y="194"/>
                  </a:lnTo>
                  <a:lnTo>
                    <a:pt x="256" y="206"/>
                  </a:lnTo>
                  <a:lnTo>
                    <a:pt x="250" y="218"/>
                  </a:lnTo>
                  <a:lnTo>
                    <a:pt x="242" y="230"/>
                  </a:lnTo>
                  <a:lnTo>
                    <a:pt x="234" y="238"/>
                  </a:lnTo>
                  <a:lnTo>
                    <a:pt x="224" y="248"/>
                  </a:lnTo>
                  <a:lnTo>
                    <a:pt x="214" y="256"/>
                  </a:lnTo>
                  <a:lnTo>
                    <a:pt x="202" y="262"/>
                  </a:lnTo>
                  <a:lnTo>
                    <a:pt x="190" y="268"/>
                  </a:lnTo>
                  <a:lnTo>
                    <a:pt x="178" y="274"/>
                  </a:lnTo>
                  <a:lnTo>
                    <a:pt x="164" y="276"/>
                  </a:lnTo>
                  <a:lnTo>
                    <a:pt x="152" y="280"/>
                  </a:lnTo>
                  <a:lnTo>
                    <a:pt x="138" y="280"/>
                  </a:lnTo>
                  <a:lnTo>
                    <a:pt x="138" y="280"/>
                  </a:lnTo>
                  <a:lnTo>
                    <a:pt x="124" y="280"/>
                  </a:lnTo>
                  <a:lnTo>
                    <a:pt x="110" y="276"/>
                  </a:lnTo>
                  <a:lnTo>
                    <a:pt x="96" y="274"/>
                  </a:lnTo>
                  <a:lnTo>
                    <a:pt x="84" y="268"/>
                  </a:lnTo>
                  <a:lnTo>
                    <a:pt x="72" y="262"/>
                  </a:lnTo>
                  <a:lnTo>
                    <a:pt x="60" y="256"/>
                  </a:lnTo>
                  <a:lnTo>
                    <a:pt x="50" y="248"/>
                  </a:lnTo>
                  <a:lnTo>
                    <a:pt x="40" y="238"/>
                  </a:lnTo>
                  <a:lnTo>
                    <a:pt x="32" y="230"/>
                  </a:lnTo>
                  <a:lnTo>
                    <a:pt x="24" y="218"/>
                  </a:lnTo>
                  <a:lnTo>
                    <a:pt x="18" y="206"/>
                  </a:lnTo>
                  <a:lnTo>
                    <a:pt x="12" y="194"/>
                  </a:lnTo>
                  <a:lnTo>
                    <a:pt x="8" y="182"/>
                  </a:lnTo>
                  <a:lnTo>
                    <a:pt x="4" y="168"/>
                  </a:lnTo>
                  <a:lnTo>
                    <a:pt x="2" y="154"/>
                  </a:lnTo>
                  <a:lnTo>
                    <a:pt x="0" y="140"/>
                  </a:lnTo>
                  <a:close/>
                </a:path>
              </a:pathLst>
            </a:custGeom>
            <a:solidFill>
              <a:srgbClr val="7FBE26"/>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0" name="Freeform 38"/>
            <p:cNvSpPr>
              <a:spLocks noEditPoints="1"/>
            </p:cNvSpPr>
            <p:nvPr/>
          </p:nvSpPr>
          <p:spPr bwMode="auto">
            <a:xfrm>
              <a:off x="4927725" y="1163309"/>
              <a:ext cx="604059" cy="728827"/>
            </a:xfrm>
            <a:custGeom>
              <a:avLst/>
              <a:gdLst>
                <a:gd name="T0" fmla="*/ 794 w 794"/>
                <a:gd name="T1" fmla="*/ 458 h 958"/>
                <a:gd name="T2" fmla="*/ 786 w 794"/>
                <a:gd name="T3" fmla="*/ 572 h 958"/>
                <a:gd name="T4" fmla="*/ 770 w 794"/>
                <a:gd name="T5" fmla="*/ 648 h 958"/>
                <a:gd name="T6" fmla="*/ 754 w 794"/>
                <a:gd name="T7" fmla="*/ 694 h 958"/>
                <a:gd name="T8" fmla="*/ 734 w 794"/>
                <a:gd name="T9" fmla="*/ 736 h 958"/>
                <a:gd name="T10" fmla="*/ 710 w 794"/>
                <a:gd name="T11" fmla="*/ 776 h 958"/>
                <a:gd name="T12" fmla="*/ 682 w 794"/>
                <a:gd name="T13" fmla="*/ 812 h 958"/>
                <a:gd name="T14" fmla="*/ 666 w 794"/>
                <a:gd name="T15" fmla="*/ 828 h 958"/>
                <a:gd name="T16" fmla="*/ 632 w 794"/>
                <a:gd name="T17" fmla="*/ 860 h 958"/>
                <a:gd name="T18" fmla="*/ 594 w 794"/>
                <a:gd name="T19" fmla="*/ 886 h 958"/>
                <a:gd name="T20" fmla="*/ 554 w 794"/>
                <a:gd name="T21" fmla="*/ 908 h 958"/>
                <a:gd name="T22" fmla="*/ 510 w 794"/>
                <a:gd name="T23" fmla="*/ 926 h 958"/>
                <a:gd name="T24" fmla="*/ 464 w 794"/>
                <a:gd name="T25" fmla="*/ 940 h 958"/>
                <a:gd name="T26" fmla="*/ 360 w 794"/>
                <a:gd name="T27" fmla="*/ 956 h 958"/>
                <a:gd name="T28" fmla="*/ 0 w 794"/>
                <a:gd name="T29" fmla="*/ 958 h 958"/>
                <a:gd name="T30" fmla="*/ 324 w 794"/>
                <a:gd name="T31" fmla="*/ 0 h 958"/>
                <a:gd name="T32" fmla="*/ 378 w 794"/>
                <a:gd name="T33" fmla="*/ 2 h 958"/>
                <a:gd name="T34" fmla="*/ 478 w 794"/>
                <a:gd name="T35" fmla="*/ 16 h 958"/>
                <a:gd name="T36" fmla="*/ 566 w 794"/>
                <a:gd name="T37" fmla="*/ 46 h 958"/>
                <a:gd name="T38" fmla="*/ 622 w 794"/>
                <a:gd name="T39" fmla="*/ 78 h 958"/>
                <a:gd name="T40" fmla="*/ 656 w 794"/>
                <a:gd name="T41" fmla="*/ 104 h 958"/>
                <a:gd name="T42" fmla="*/ 672 w 794"/>
                <a:gd name="T43" fmla="*/ 118 h 958"/>
                <a:gd name="T44" fmla="*/ 700 w 794"/>
                <a:gd name="T45" fmla="*/ 148 h 958"/>
                <a:gd name="T46" fmla="*/ 726 w 794"/>
                <a:gd name="T47" fmla="*/ 184 h 958"/>
                <a:gd name="T48" fmla="*/ 746 w 794"/>
                <a:gd name="T49" fmla="*/ 220 h 958"/>
                <a:gd name="T50" fmla="*/ 764 w 794"/>
                <a:gd name="T51" fmla="*/ 262 h 958"/>
                <a:gd name="T52" fmla="*/ 788 w 794"/>
                <a:gd name="T53" fmla="*/ 354 h 958"/>
                <a:gd name="T54" fmla="*/ 794 w 794"/>
                <a:gd name="T55" fmla="*/ 458 h 958"/>
                <a:gd name="T56" fmla="*/ 532 w 794"/>
                <a:gd name="T57" fmla="*/ 468 h 958"/>
                <a:gd name="T58" fmla="*/ 528 w 794"/>
                <a:gd name="T59" fmla="*/ 406 h 958"/>
                <a:gd name="T60" fmla="*/ 520 w 794"/>
                <a:gd name="T61" fmla="*/ 352 h 958"/>
                <a:gd name="T62" fmla="*/ 504 w 794"/>
                <a:gd name="T63" fmla="*/ 308 h 958"/>
                <a:gd name="T64" fmla="*/ 482 w 794"/>
                <a:gd name="T65" fmla="*/ 272 h 958"/>
                <a:gd name="T66" fmla="*/ 468 w 794"/>
                <a:gd name="T67" fmla="*/ 258 h 958"/>
                <a:gd name="T68" fmla="*/ 436 w 794"/>
                <a:gd name="T69" fmla="*/ 234 h 958"/>
                <a:gd name="T70" fmla="*/ 396 w 794"/>
                <a:gd name="T71" fmla="*/ 218 h 958"/>
                <a:gd name="T72" fmla="*/ 352 w 794"/>
                <a:gd name="T73" fmla="*/ 210 h 958"/>
                <a:gd name="T74" fmla="*/ 252 w 794"/>
                <a:gd name="T75" fmla="*/ 208 h 958"/>
                <a:gd name="T76" fmla="*/ 310 w 794"/>
                <a:gd name="T77" fmla="*/ 746 h 958"/>
                <a:gd name="T78" fmla="*/ 338 w 794"/>
                <a:gd name="T79" fmla="*/ 744 h 958"/>
                <a:gd name="T80" fmla="*/ 386 w 794"/>
                <a:gd name="T81" fmla="*/ 736 h 958"/>
                <a:gd name="T82" fmla="*/ 430 w 794"/>
                <a:gd name="T83" fmla="*/ 720 h 958"/>
                <a:gd name="T84" fmla="*/ 464 w 794"/>
                <a:gd name="T85" fmla="*/ 694 h 958"/>
                <a:gd name="T86" fmla="*/ 478 w 794"/>
                <a:gd name="T87" fmla="*/ 678 h 958"/>
                <a:gd name="T88" fmla="*/ 502 w 794"/>
                <a:gd name="T89" fmla="*/ 638 h 958"/>
                <a:gd name="T90" fmla="*/ 518 w 794"/>
                <a:gd name="T91" fmla="*/ 590 h 958"/>
                <a:gd name="T92" fmla="*/ 528 w 794"/>
                <a:gd name="T93" fmla="*/ 534 h 958"/>
                <a:gd name="T94" fmla="*/ 532 w 794"/>
                <a:gd name="T95" fmla="*/ 468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4" h="958">
                  <a:moveTo>
                    <a:pt x="794" y="458"/>
                  </a:moveTo>
                  <a:lnTo>
                    <a:pt x="794" y="458"/>
                  </a:lnTo>
                  <a:lnTo>
                    <a:pt x="792" y="516"/>
                  </a:lnTo>
                  <a:lnTo>
                    <a:pt x="786" y="572"/>
                  </a:lnTo>
                  <a:lnTo>
                    <a:pt x="776" y="624"/>
                  </a:lnTo>
                  <a:lnTo>
                    <a:pt x="770" y="648"/>
                  </a:lnTo>
                  <a:lnTo>
                    <a:pt x="762" y="672"/>
                  </a:lnTo>
                  <a:lnTo>
                    <a:pt x="754" y="694"/>
                  </a:lnTo>
                  <a:lnTo>
                    <a:pt x="744" y="716"/>
                  </a:lnTo>
                  <a:lnTo>
                    <a:pt x="734" y="736"/>
                  </a:lnTo>
                  <a:lnTo>
                    <a:pt x="722" y="756"/>
                  </a:lnTo>
                  <a:lnTo>
                    <a:pt x="710" y="776"/>
                  </a:lnTo>
                  <a:lnTo>
                    <a:pt x="696" y="794"/>
                  </a:lnTo>
                  <a:lnTo>
                    <a:pt x="682" y="812"/>
                  </a:lnTo>
                  <a:lnTo>
                    <a:pt x="666" y="828"/>
                  </a:lnTo>
                  <a:lnTo>
                    <a:pt x="666" y="828"/>
                  </a:lnTo>
                  <a:lnTo>
                    <a:pt x="650" y="844"/>
                  </a:lnTo>
                  <a:lnTo>
                    <a:pt x="632" y="860"/>
                  </a:lnTo>
                  <a:lnTo>
                    <a:pt x="614" y="872"/>
                  </a:lnTo>
                  <a:lnTo>
                    <a:pt x="594" y="886"/>
                  </a:lnTo>
                  <a:lnTo>
                    <a:pt x="574" y="898"/>
                  </a:lnTo>
                  <a:lnTo>
                    <a:pt x="554" y="908"/>
                  </a:lnTo>
                  <a:lnTo>
                    <a:pt x="532" y="918"/>
                  </a:lnTo>
                  <a:lnTo>
                    <a:pt x="510" y="926"/>
                  </a:lnTo>
                  <a:lnTo>
                    <a:pt x="488" y="934"/>
                  </a:lnTo>
                  <a:lnTo>
                    <a:pt x="464" y="940"/>
                  </a:lnTo>
                  <a:lnTo>
                    <a:pt x="414" y="950"/>
                  </a:lnTo>
                  <a:lnTo>
                    <a:pt x="360" y="956"/>
                  </a:lnTo>
                  <a:lnTo>
                    <a:pt x="302" y="958"/>
                  </a:lnTo>
                  <a:lnTo>
                    <a:pt x="0" y="958"/>
                  </a:lnTo>
                  <a:lnTo>
                    <a:pt x="0" y="0"/>
                  </a:lnTo>
                  <a:lnTo>
                    <a:pt x="324" y="0"/>
                  </a:lnTo>
                  <a:lnTo>
                    <a:pt x="324" y="0"/>
                  </a:lnTo>
                  <a:lnTo>
                    <a:pt x="378" y="2"/>
                  </a:lnTo>
                  <a:lnTo>
                    <a:pt x="430" y="6"/>
                  </a:lnTo>
                  <a:lnTo>
                    <a:pt x="478" y="16"/>
                  </a:lnTo>
                  <a:lnTo>
                    <a:pt x="524" y="28"/>
                  </a:lnTo>
                  <a:lnTo>
                    <a:pt x="566" y="46"/>
                  </a:lnTo>
                  <a:lnTo>
                    <a:pt x="604" y="66"/>
                  </a:lnTo>
                  <a:lnTo>
                    <a:pt x="622" y="78"/>
                  </a:lnTo>
                  <a:lnTo>
                    <a:pt x="640" y="90"/>
                  </a:lnTo>
                  <a:lnTo>
                    <a:pt x="656" y="104"/>
                  </a:lnTo>
                  <a:lnTo>
                    <a:pt x="672" y="118"/>
                  </a:lnTo>
                  <a:lnTo>
                    <a:pt x="672" y="118"/>
                  </a:lnTo>
                  <a:lnTo>
                    <a:pt x="686" y="132"/>
                  </a:lnTo>
                  <a:lnTo>
                    <a:pt x="700" y="148"/>
                  </a:lnTo>
                  <a:lnTo>
                    <a:pt x="714" y="166"/>
                  </a:lnTo>
                  <a:lnTo>
                    <a:pt x="726" y="184"/>
                  </a:lnTo>
                  <a:lnTo>
                    <a:pt x="736" y="202"/>
                  </a:lnTo>
                  <a:lnTo>
                    <a:pt x="746" y="220"/>
                  </a:lnTo>
                  <a:lnTo>
                    <a:pt x="756" y="240"/>
                  </a:lnTo>
                  <a:lnTo>
                    <a:pt x="764" y="262"/>
                  </a:lnTo>
                  <a:lnTo>
                    <a:pt x="778" y="306"/>
                  </a:lnTo>
                  <a:lnTo>
                    <a:pt x="788" y="354"/>
                  </a:lnTo>
                  <a:lnTo>
                    <a:pt x="792" y="404"/>
                  </a:lnTo>
                  <a:lnTo>
                    <a:pt x="794" y="458"/>
                  </a:lnTo>
                  <a:close/>
                  <a:moveTo>
                    <a:pt x="532" y="468"/>
                  </a:moveTo>
                  <a:lnTo>
                    <a:pt x="532" y="468"/>
                  </a:lnTo>
                  <a:lnTo>
                    <a:pt x="532" y="436"/>
                  </a:lnTo>
                  <a:lnTo>
                    <a:pt x="528" y="406"/>
                  </a:lnTo>
                  <a:lnTo>
                    <a:pt x="524" y="378"/>
                  </a:lnTo>
                  <a:lnTo>
                    <a:pt x="520" y="352"/>
                  </a:lnTo>
                  <a:lnTo>
                    <a:pt x="512" y="330"/>
                  </a:lnTo>
                  <a:lnTo>
                    <a:pt x="504" y="308"/>
                  </a:lnTo>
                  <a:lnTo>
                    <a:pt x="494" y="290"/>
                  </a:lnTo>
                  <a:lnTo>
                    <a:pt x="482" y="272"/>
                  </a:lnTo>
                  <a:lnTo>
                    <a:pt x="482" y="272"/>
                  </a:lnTo>
                  <a:lnTo>
                    <a:pt x="468" y="258"/>
                  </a:lnTo>
                  <a:lnTo>
                    <a:pt x="452" y="244"/>
                  </a:lnTo>
                  <a:lnTo>
                    <a:pt x="436" y="234"/>
                  </a:lnTo>
                  <a:lnTo>
                    <a:pt x="418" y="224"/>
                  </a:lnTo>
                  <a:lnTo>
                    <a:pt x="396" y="218"/>
                  </a:lnTo>
                  <a:lnTo>
                    <a:pt x="376" y="212"/>
                  </a:lnTo>
                  <a:lnTo>
                    <a:pt x="352" y="210"/>
                  </a:lnTo>
                  <a:lnTo>
                    <a:pt x="326" y="208"/>
                  </a:lnTo>
                  <a:lnTo>
                    <a:pt x="252" y="208"/>
                  </a:lnTo>
                  <a:lnTo>
                    <a:pt x="252" y="746"/>
                  </a:lnTo>
                  <a:lnTo>
                    <a:pt x="310" y="746"/>
                  </a:lnTo>
                  <a:lnTo>
                    <a:pt x="310" y="746"/>
                  </a:lnTo>
                  <a:lnTo>
                    <a:pt x="338" y="744"/>
                  </a:lnTo>
                  <a:lnTo>
                    <a:pt x="362" y="742"/>
                  </a:lnTo>
                  <a:lnTo>
                    <a:pt x="386" y="736"/>
                  </a:lnTo>
                  <a:lnTo>
                    <a:pt x="410" y="728"/>
                  </a:lnTo>
                  <a:lnTo>
                    <a:pt x="430" y="720"/>
                  </a:lnTo>
                  <a:lnTo>
                    <a:pt x="448" y="708"/>
                  </a:lnTo>
                  <a:lnTo>
                    <a:pt x="464" y="694"/>
                  </a:lnTo>
                  <a:lnTo>
                    <a:pt x="478" y="678"/>
                  </a:lnTo>
                  <a:lnTo>
                    <a:pt x="478" y="678"/>
                  </a:lnTo>
                  <a:lnTo>
                    <a:pt x="490" y="660"/>
                  </a:lnTo>
                  <a:lnTo>
                    <a:pt x="502" y="638"/>
                  </a:lnTo>
                  <a:lnTo>
                    <a:pt x="512" y="616"/>
                  </a:lnTo>
                  <a:lnTo>
                    <a:pt x="518" y="590"/>
                  </a:lnTo>
                  <a:lnTo>
                    <a:pt x="524" y="564"/>
                  </a:lnTo>
                  <a:lnTo>
                    <a:pt x="528" y="534"/>
                  </a:lnTo>
                  <a:lnTo>
                    <a:pt x="532" y="502"/>
                  </a:lnTo>
                  <a:lnTo>
                    <a:pt x="532" y="468"/>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1" name="Rectangle 41"/>
            <p:cNvSpPr>
              <a:spLocks noChangeArrowheads="1"/>
            </p:cNvSpPr>
            <p:nvPr/>
          </p:nvSpPr>
          <p:spPr bwMode="auto">
            <a:xfrm>
              <a:off x="6170840" y="1160266"/>
              <a:ext cx="184109" cy="731870"/>
            </a:xfrm>
            <a:prstGeom prst="rect">
              <a:avLst/>
            </a:prstGeom>
            <a:solidFill>
              <a:schemeClr val="tx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2" name="Freeform 42"/>
            <p:cNvSpPr>
              <a:spLocks noEditPoints="1"/>
            </p:cNvSpPr>
            <p:nvPr/>
          </p:nvSpPr>
          <p:spPr bwMode="auto">
            <a:xfrm>
              <a:off x="6426462" y="1338288"/>
              <a:ext cx="529503" cy="564499"/>
            </a:xfrm>
            <a:custGeom>
              <a:avLst/>
              <a:gdLst>
                <a:gd name="T0" fmla="*/ 694 w 696"/>
                <a:gd name="T1" fmla="*/ 412 h 742"/>
                <a:gd name="T2" fmla="*/ 674 w 696"/>
                <a:gd name="T3" fmla="*/ 526 h 742"/>
                <a:gd name="T4" fmla="*/ 626 w 696"/>
                <a:gd name="T5" fmla="*/ 618 h 742"/>
                <a:gd name="T6" fmla="*/ 580 w 696"/>
                <a:gd name="T7" fmla="*/ 666 h 742"/>
                <a:gd name="T8" fmla="*/ 494 w 696"/>
                <a:gd name="T9" fmla="*/ 716 h 742"/>
                <a:gd name="T10" fmla="*/ 386 w 696"/>
                <a:gd name="T11" fmla="*/ 740 h 742"/>
                <a:gd name="T12" fmla="*/ 308 w 696"/>
                <a:gd name="T13" fmla="*/ 740 h 742"/>
                <a:gd name="T14" fmla="*/ 204 w 696"/>
                <a:gd name="T15" fmla="*/ 716 h 742"/>
                <a:gd name="T16" fmla="*/ 118 w 696"/>
                <a:gd name="T17" fmla="*/ 664 h 742"/>
                <a:gd name="T18" fmla="*/ 72 w 696"/>
                <a:gd name="T19" fmla="*/ 614 h 742"/>
                <a:gd name="T20" fmla="*/ 22 w 696"/>
                <a:gd name="T21" fmla="*/ 522 h 742"/>
                <a:gd name="T22" fmla="*/ 0 w 696"/>
                <a:gd name="T23" fmla="*/ 410 h 742"/>
                <a:gd name="T24" fmla="*/ 0 w 696"/>
                <a:gd name="T25" fmla="*/ 326 h 742"/>
                <a:gd name="T26" fmla="*/ 22 w 696"/>
                <a:gd name="T27" fmla="*/ 214 h 742"/>
                <a:gd name="T28" fmla="*/ 70 w 696"/>
                <a:gd name="T29" fmla="*/ 122 h 742"/>
                <a:gd name="T30" fmla="*/ 116 w 696"/>
                <a:gd name="T31" fmla="*/ 74 h 742"/>
                <a:gd name="T32" fmla="*/ 202 w 696"/>
                <a:gd name="T33" fmla="*/ 24 h 742"/>
                <a:gd name="T34" fmla="*/ 310 w 696"/>
                <a:gd name="T35" fmla="*/ 2 h 742"/>
                <a:gd name="T36" fmla="*/ 376 w 696"/>
                <a:gd name="T37" fmla="*/ 2 h 742"/>
                <a:gd name="T38" fmla="*/ 446 w 696"/>
                <a:gd name="T39" fmla="*/ 12 h 742"/>
                <a:gd name="T40" fmla="*/ 512 w 696"/>
                <a:gd name="T41" fmla="*/ 34 h 742"/>
                <a:gd name="T42" fmla="*/ 550 w 696"/>
                <a:gd name="T43" fmla="*/ 58 h 742"/>
                <a:gd name="T44" fmla="*/ 602 w 696"/>
                <a:gd name="T45" fmla="*/ 100 h 742"/>
                <a:gd name="T46" fmla="*/ 642 w 696"/>
                <a:gd name="T47" fmla="*/ 154 h 742"/>
                <a:gd name="T48" fmla="*/ 664 w 696"/>
                <a:gd name="T49" fmla="*/ 196 h 742"/>
                <a:gd name="T50" fmla="*/ 686 w 696"/>
                <a:gd name="T51" fmla="*/ 264 h 742"/>
                <a:gd name="T52" fmla="*/ 696 w 696"/>
                <a:gd name="T53" fmla="*/ 342 h 742"/>
                <a:gd name="T54" fmla="*/ 244 w 696"/>
                <a:gd name="T55" fmla="*/ 370 h 742"/>
                <a:gd name="T56" fmla="*/ 258 w 696"/>
                <a:gd name="T57" fmla="*/ 482 h 742"/>
                <a:gd name="T58" fmla="*/ 268 w 696"/>
                <a:gd name="T59" fmla="*/ 510 h 742"/>
                <a:gd name="T60" fmla="*/ 290 w 696"/>
                <a:gd name="T61" fmla="*/ 540 h 742"/>
                <a:gd name="T62" fmla="*/ 322 w 696"/>
                <a:gd name="T63" fmla="*/ 554 h 742"/>
                <a:gd name="T64" fmla="*/ 348 w 696"/>
                <a:gd name="T65" fmla="*/ 558 h 742"/>
                <a:gd name="T66" fmla="*/ 386 w 696"/>
                <a:gd name="T67" fmla="*/ 552 h 742"/>
                <a:gd name="T68" fmla="*/ 414 w 696"/>
                <a:gd name="T69" fmla="*/ 530 h 742"/>
                <a:gd name="T70" fmla="*/ 428 w 696"/>
                <a:gd name="T71" fmla="*/ 510 h 742"/>
                <a:gd name="T72" fmla="*/ 450 w 696"/>
                <a:gd name="T73" fmla="*/ 412 h 742"/>
                <a:gd name="T74" fmla="*/ 450 w 696"/>
                <a:gd name="T75" fmla="*/ 326 h 742"/>
                <a:gd name="T76" fmla="*/ 428 w 696"/>
                <a:gd name="T77" fmla="*/ 230 h 742"/>
                <a:gd name="T78" fmla="*/ 414 w 696"/>
                <a:gd name="T79" fmla="*/ 210 h 742"/>
                <a:gd name="T80" fmla="*/ 386 w 696"/>
                <a:gd name="T81" fmla="*/ 190 h 742"/>
                <a:gd name="T82" fmla="*/ 348 w 696"/>
                <a:gd name="T83" fmla="*/ 184 h 742"/>
                <a:gd name="T84" fmla="*/ 322 w 696"/>
                <a:gd name="T85" fmla="*/ 188 h 742"/>
                <a:gd name="T86" fmla="*/ 290 w 696"/>
                <a:gd name="T87" fmla="*/ 202 h 742"/>
                <a:gd name="T88" fmla="*/ 268 w 696"/>
                <a:gd name="T89" fmla="*/ 230 h 742"/>
                <a:gd name="T90" fmla="*/ 258 w 696"/>
                <a:gd name="T91" fmla="*/ 256 h 742"/>
                <a:gd name="T92" fmla="*/ 244 w 696"/>
                <a:gd name="T93" fmla="*/ 370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6" h="742">
                  <a:moveTo>
                    <a:pt x="696" y="370"/>
                  </a:moveTo>
                  <a:lnTo>
                    <a:pt x="696" y="370"/>
                  </a:lnTo>
                  <a:lnTo>
                    <a:pt x="694" y="412"/>
                  </a:lnTo>
                  <a:lnTo>
                    <a:pt x="690" y="452"/>
                  </a:lnTo>
                  <a:lnTo>
                    <a:pt x="684" y="490"/>
                  </a:lnTo>
                  <a:lnTo>
                    <a:pt x="674" y="526"/>
                  </a:lnTo>
                  <a:lnTo>
                    <a:pt x="660" y="558"/>
                  </a:lnTo>
                  <a:lnTo>
                    <a:pt x="644" y="588"/>
                  </a:lnTo>
                  <a:lnTo>
                    <a:pt x="626" y="618"/>
                  </a:lnTo>
                  <a:lnTo>
                    <a:pt x="604" y="642"/>
                  </a:lnTo>
                  <a:lnTo>
                    <a:pt x="604" y="642"/>
                  </a:lnTo>
                  <a:lnTo>
                    <a:pt x="580" y="666"/>
                  </a:lnTo>
                  <a:lnTo>
                    <a:pt x="554" y="686"/>
                  </a:lnTo>
                  <a:lnTo>
                    <a:pt x="524" y="702"/>
                  </a:lnTo>
                  <a:lnTo>
                    <a:pt x="494" y="716"/>
                  </a:lnTo>
                  <a:lnTo>
                    <a:pt x="460" y="728"/>
                  </a:lnTo>
                  <a:lnTo>
                    <a:pt x="424" y="734"/>
                  </a:lnTo>
                  <a:lnTo>
                    <a:pt x="386" y="740"/>
                  </a:lnTo>
                  <a:lnTo>
                    <a:pt x="346" y="742"/>
                  </a:lnTo>
                  <a:lnTo>
                    <a:pt x="346" y="742"/>
                  </a:lnTo>
                  <a:lnTo>
                    <a:pt x="308" y="740"/>
                  </a:lnTo>
                  <a:lnTo>
                    <a:pt x="270" y="734"/>
                  </a:lnTo>
                  <a:lnTo>
                    <a:pt x="236" y="726"/>
                  </a:lnTo>
                  <a:lnTo>
                    <a:pt x="204" y="716"/>
                  </a:lnTo>
                  <a:lnTo>
                    <a:pt x="172" y="702"/>
                  </a:lnTo>
                  <a:lnTo>
                    <a:pt x="144" y="684"/>
                  </a:lnTo>
                  <a:lnTo>
                    <a:pt x="118" y="664"/>
                  </a:lnTo>
                  <a:lnTo>
                    <a:pt x="94" y="640"/>
                  </a:lnTo>
                  <a:lnTo>
                    <a:pt x="94" y="640"/>
                  </a:lnTo>
                  <a:lnTo>
                    <a:pt x="72" y="614"/>
                  </a:lnTo>
                  <a:lnTo>
                    <a:pt x="52" y="586"/>
                  </a:lnTo>
                  <a:lnTo>
                    <a:pt x="36" y="556"/>
                  </a:lnTo>
                  <a:lnTo>
                    <a:pt x="22" y="522"/>
                  </a:lnTo>
                  <a:lnTo>
                    <a:pt x="12" y="488"/>
                  </a:lnTo>
                  <a:lnTo>
                    <a:pt x="4" y="450"/>
                  </a:lnTo>
                  <a:lnTo>
                    <a:pt x="0" y="410"/>
                  </a:lnTo>
                  <a:lnTo>
                    <a:pt x="0" y="370"/>
                  </a:lnTo>
                  <a:lnTo>
                    <a:pt x="0" y="370"/>
                  </a:lnTo>
                  <a:lnTo>
                    <a:pt x="0" y="326"/>
                  </a:lnTo>
                  <a:lnTo>
                    <a:pt x="4" y="286"/>
                  </a:lnTo>
                  <a:lnTo>
                    <a:pt x="12" y="248"/>
                  </a:lnTo>
                  <a:lnTo>
                    <a:pt x="22" y="214"/>
                  </a:lnTo>
                  <a:lnTo>
                    <a:pt x="36" y="180"/>
                  </a:lnTo>
                  <a:lnTo>
                    <a:pt x="50" y="150"/>
                  </a:lnTo>
                  <a:lnTo>
                    <a:pt x="70" y="122"/>
                  </a:lnTo>
                  <a:lnTo>
                    <a:pt x="92" y="98"/>
                  </a:lnTo>
                  <a:lnTo>
                    <a:pt x="92" y="98"/>
                  </a:lnTo>
                  <a:lnTo>
                    <a:pt x="116" y="74"/>
                  </a:lnTo>
                  <a:lnTo>
                    <a:pt x="142" y="54"/>
                  </a:lnTo>
                  <a:lnTo>
                    <a:pt x="170" y="38"/>
                  </a:lnTo>
                  <a:lnTo>
                    <a:pt x="202" y="24"/>
                  </a:lnTo>
                  <a:lnTo>
                    <a:pt x="236" y="14"/>
                  </a:lnTo>
                  <a:lnTo>
                    <a:pt x="272" y="6"/>
                  </a:lnTo>
                  <a:lnTo>
                    <a:pt x="310" y="2"/>
                  </a:lnTo>
                  <a:lnTo>
                    <a:pt x="350" y="0"/>
                  </a:lnTo>
                  <a:lnTo>
                    <a:pt x="350" y="0"/>
                  </a:lnTo>
                  <a:lnTo>
                    <a:pt x="376" y="2"/>
                  </a:lnTo>
                  <a:lnTo>
                    <a:pt x="400" y="4"/>
                  </a:lnTo>
                  <a:lnTo>
                    <a:pt x="424" y="6"/>
                  </a:lnTo>
                  <a:lnTo>
                    <a:pt x="446" y="12"/>
                  </a:lnTo>
                  <a:lnTo>
                    <a:pt x="470" y="18"/>
                  </a:lnTo>
                  <a:lnTo>
                    <a:pt x="490" y="26"/>
                  </a:lnTo>
                  <a:lnTo>
                    <a:pt x="512" y="34"/>
                  </a:lnTo>
                  <a:lnTo>
                    <a:pt x="532" y="46"/>
                  </a:lnTo>
                  <a:lnTo>
                    <a:pt x="532" y="46"/>
                  </a:lnTo>
                  <a:lnTo>
                    <a:pt x="550" y="58"/>
                  </a:lnTo>
                  <a:lnTo>
                    <a:pt x="570" y="70"/>
                  </a:lnTo>
                  <a:lnTo>
                    <a:pt x="586" y="84"/>
                  </a:lnTo>
                  <a:lnTo>
                    <a:pt x="602" y="100"/>
                  </a:lnTo>
                  <a:lnTo>
                    <a:pt x="616" y="116"/>
                  </a:lnTo>
                  <a:lnTo>
                    <a:pt x="630" y="134"/>
                  </a:lnTo>
                  <a:lnTo>
                    <a:pt x="642" y="154"/>
                  </a:lnTo>
                  <a:lnTo>
                    <a:pt x="654" y="174"/>
                  </a:lnTo>
                  <a:lnTo>
                    <a:pt x="654" y="174"/>
                  </a:lnTo>
                  <a:lnTo>
                    <a:pt x="664" y="196"/>
                  </a:lnTo>
                  <a:lnTo>
                    <a:pt x="672" y="218"/>
                  </a:lnTo>
                  <a:lnTo>
                    <a:pt x="680" y="240"/>
                  </a:lnTo>
                  <a:lnTo>
                    <a:pt x="686" y="264"/>
                  </a:lnTo>
                  <a:lnTo>
                    <a:pt x="690" y="290"/>
                  </a:lnTo>
                  <a:lnTo>
                    <a:pt x="694" y="316"/>
                  </a:lnTo>
                  <a:lnTo>
                    <a:pt x="696" y="342"/>
                  </a:lnTo>
                  <a:lnTo>
                    <a:pt x="696" y="370"/>
                  </a:lnTo>
                  <a:close/>
                  <a:moveTo>
                    <a:pt x="244" y="370"/>
                  </a:moveTo>
                  <a:lnTo>
                    <a:pt x="244" y="370"/>
                  </a:lnTo>
                  <a:lnTo>
                    <a:pt x="246" y="412"/>
                  </a:lnTo>
                  <a:lnTo>
                    <a:pt x="250" y="450"/>
                  </a:lnTo>
                  <a:lnTo>
                    <a:pt x="258" y="482"/>
                  </a:lnTo>
                  <a:lnTo>
                    <a:pt x="262" y="496"/>
                  </a:lnTo>
                  <a:lnTo>
                    <a:pt x="268" y="510"/>
                  </a:lnTo>
                  <a:lnTo>
                    <a:pt x="268" y="510"/>
                  </a:lnTo>
                  <a:lnTo>
                    <a:pt x="274" y="522"/>
                  </a:lnTo>
                  <a:lnTo>
                    <a:pt x="282" y="530"/>
                  </a:lnTo>
                  <a:lnTo>
                    <a:pt x="290" y="540"/>
                  </a:lnTo>
                  <a:lnTo>
                    <a:pt x="300" y="546"/>
                  </a:lnTo>
                  <a:lnTo>
                    <a:pt x="310" y="552"/>
                  </a:lnTo>
                  <a:lnTo>
                    <a:pt x="322" y="554"/>
                  </a:lnTo>
                  <a:lnTo>
                    <a:pt x="336" y="558"/>
                  </a:lnTo>
                  <a:lnTo>
                    <a:pt x="348" y="558"/>
                  </a:lnTo>
                  <a:lnTo>
                    <a:pt x="348" y="558"/>
                  </a:lnTo>
                  <a:lnTo>
                    <a:pt x="362" y="558"/>
                  </a:lnTo>
                  <a:lnTo>
                    <a:pt x="374" y="554"/>
                  </a:lnTo>
                  <a:lnTo>
                    <a:pt x="386" y="552"/>
                  </a:lnTo>
                  <a:lnTo>
                    <a:pt x="396" y="546"/>
                  </a:lnTo>
                  <a:lnTo>
                    <a:pt x="406" y="540"/>
                  </a:lnTo>
                  <a:lnTo>
                    <a:pt x="414" y="530"/>
                  </a:lnTo>
                  <a:lnTo>
                    <a:pt x="422" y="522"/>
                  </a:lnTo>
                  <a:lnTo>
                    <a:pt x="428" y="510"/>
                  </a:lnTo>
                  <a:lnTo>
                    <a:pt x="428" y="510"/>
                  </a:lnTo>
                  <a:lnTo>
                    <a:pt x="438" y="482"/>
                  </a:lnTo>
                  <a:lnTo>
                    <a:pt x="446" y="450"/>
                  </a:lnTo>
                  <a:lnTo>
                    <a:pt x="450" y="412"/>
                  </a:lnTo>
                  <a:lnTo>
                    <a:pt x="450" y="370"/>
                  </a:lnTo>
                  <a:lnTo>
                    <a:pt x="450" y="370"/>
                  </a:lnTo>
                  <a:lnTo>
                    <a:pt x="450" y="326"/>
                  </a:lnTo>
                  <a:lnTo>
                    <a:pt x="446" y="288"/>
                  </a:lnTo>
                  <a:lnTo>
                    <a:pt x="438" y="258"/>
                  </a:lnTo>
                  <a:lnTo>
                    <a:pt x="428" y="230"/>
                  </a:lnTo>
                  <a:lnTo>
                    <a:pt x="428" y="230"/>
                  </a:lnTo>
                  <a:lnTo>
                    <a:pt x="422" y="220"/>
                  </a:lnTo>
                  <a:lnTo>
                    <a:pt x="414" y="210"/>
                  </a:lnTo>
                  <a:lnTo>
                    <a:pt x="406" y="202"/>
                  </a:lnTo>
                  <a:lnTo>
                    <a:pt x="396" y="196"/>
                  </a:lnTo>
                  <a:lnTo>
                    <a:pt x="386" y="190"/>
                  </a:lnTo>
                  <a:lnTo>
                    <a:pt x="374" y="188"/>
                  </a:lnTo>
                  <a:lnTo>
                    <a:pt x="362" y="184"/>
                  </a:lnTo>
                  <a:lnTo>
                    <a:pt x="348" y="184"/>
                  </a:lnTo>
                  <a:lnTo>
                    <a:pt x="348" y="184"/>
                  </a:lnTo>
                  <a:lnTo>
                    <a:pt x="334" y="184"/>
                  </a:lnTo>
                  <a:lnTo>
                    <a:pt x="322" y="188"/>
                  </a:lnTo>
                  <a:lnTo>
                    <a:pt x="310" y="190"/>
                  </a:lnTo>
                  <a:lnTo>
                    <a:pt x="300" y="196"/>
                  </a:lnTo>
                  <a:lnTo>
                    <a:pt x="290" y="202"/>
                  </a:lnTo>
                  <a:lnTo>
                    <a:pt x="282" y="210"/>
                  </a:lnTo>
                  <a:lnTo>
                    <a:pt x="274" y="220"/>
                  </a:lnTo>
                  <a:lnTo>
                    <a:pt x="268" y="230"/>
                  </a:lnTo>
                  <a:lnTo>
                    <a:pt x="268" y="230"/>
                  </a:lnTo>
                  <a:lnTo>
                    <a:pt x="262" y="242"/>
                  </a:lnTo>
                  <a:lnTo>
                    <a:pt x="258" y="256"/>
                  </a:lnTo>
                  <a:lnTo>
                    <a:pt x="250" y="288"/>
                  </a:lnTo>
                  <a:lnTo>
                    <a:pt x="246" y="326"/>
                  </a:lnTo>
                  <a:lnTo>
                    <a:pt x="244" y="370"/>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3" name="Rectangle 45"/>
            <p:cNvSpPr>
              <a:spLocks noChangeArrowheads="1"/>
            </p:cNvSpPr>
            <p:nvPr/>
          </p:nvSpPr>
          <p:spPr bwMode="auto">
            <a:xfrm>
              <a:off x="7029000" y="1347418"/>
              <a:ext cx="184109" cy="544718"/>
            </a:xfrm>
            <a:prstGeom prst="rect">
              <a:avLst/>
            </a:prstGeom>
            <a:solidFill>
              <a:schemeClr val="tx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4" name="Rectangle 46"/>
            <p:cNvSpPr>
              <a:spLocks noChangeArrowheads="1"/>
            </p:cNvSpPr>
            <p:nvPr/>
          </p:nvSpPr>
          <p:spPr bwMode="auto">
            <a:xfrm>
              <a:off x="7029000" y="1160266"/>
              <a:ext cx="184109" cy="121725"/>
            </a:xfrm>
            <a:prstGeom prst="rect">
              <a:avLst/>
            </a:prstGeom>
            <a:solidFill>
              <a:schemeClr val="tx1"/>
            </a:solidFill>
            <a:ln w="9525">
              <a:noFill/>
              <a:miter lim="800000"/>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5" name="Freeform 47"/>
            <p:cNvSpPr>
              <a:spLocks/>
            </p:cNvSpPr>
            <p:nvPr/>
          </p:nvSpPr>
          <p:spPr bwMode="auto">
            <a:xfrm>
              <a:off x="7286143" y="1177003"/>
              <a:ext cx="386476" cy="725784"/>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0 w 508"/>
                <a:gd name="T29" fmla="*/ 952 h 954"/>
                <a:gd name="T30" fmla="*/ 312 w 508"/>
                <a:gd name="T31" fmla="*/ 954 h 954"/>
                <a:gd name="T32" fmla="*/ 312 w 508"/>
                <a:gd name="T33" fmla="*/ 954 h 954"/>
                <a:gd name="T34" fmla="*/ 282 w 508"/>
                <a:gd name="T35" fmla="*/ 952 h 954"/>
                <a:gd name="T36" fmla="*/ 256 w 508"/>
                <a:gd name="T37" fmla="*/ 950 h 954"/>
                <a:gd name="T38" fmla="*/ 230 w 508"/>
                <a:gd name="T39" fmla="*/ 944 h 954"/>
                <a:gd name="T40" fmla="*/ 208 w 508"/>
                <a:gd name="T41" fmla="*/ 938 h 954"/>
                <a:gd name="T42" fmla="*/ 186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6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2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0" y="952"/>
                  </a:lnTo>
                  <a:lnTo>
                    <a:pt x="312" y="954"/>
                  </a:lnTo>
                  <a:lnTo>
                    <a:pt x="312" y="954"/>
                  </a:lnTo>
                  <a:lnTo>
                    <a:pt x="282" y="952"/>
                  </a:lnTo>
                  <a:lnTo>
                    <a:pt x="256" y="950"/>
                  </a:lnTo>
                  <a:lnTo>
                    <a:pt x="230" y="944"/>
                  </a:lnTo>
                  <a:lnTo>
                    <a:pt x="208" y="938"/>
                  </a:lnTo>
                  <a:lnTo>
                    <a:pt x="186" y="930"/>
                  </a:lnTo>
                  <a:lnTo>
                    <a:pt x="168" y="918"/>
                  </a:lnTo>
                  <a:lnTo>
                    <a:pt x="152" y="906"/>
                  </a:lnTo>
                  <a:lnTo>
                    <a:pt x="138" y="892"/>
                  </a:lnTo>
                  <a:lnTo>
                    <a:pt x="138" y="892"/>
                  </a:lnTo>
                  <a:lnTo>
                    <a:pt x="124" y="876"/>
                  </a:lnTo>
                  <a:lnTo>
                    <a:pt x="114" y="858"/>
                  </a:lnTo>
                  <a:lnTo>
                    <a:pt x="104" y="838"/>
                  </a:lnTo>
                  <a:lnTo>
                    <a:pt x="96" y="814"/>
                  </a:lnTo>
                  <a:lnTo>
                    <a:pt x="92" y="790"/>
                  </a:lnTo>
                  <a:lnTo>
                    <a:pt x="86" y="764"/>
                  </a:lnTo>
                  <a:lnTo>
                    <a:pt x="84" y="736"/>
                  </a:lnTo>
                  <a:lnTo>
                    <a:pt x="84" y="704"/>
                  </a:lnTo>
                  <a:lnTo>
                    <a:pt x="84" y="410"/>
                  </a:lnTo>
                  <a:lnTo>
                    <a:pt x="0" y="410"/>
                  </a:lnTo>
                  <a:lnTo>
                    <a:pt x="0" y="226"/>
                  </a:lnTo>
                  <a:lnTo>
                    <a:pt x="84" y="226"/>
                  </a:lnTo>
                  <a:lnTo>
                    <a:pt x="84" y="42"/>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6" name="Freeform 49"/>
            <p:cNvSpPr>
              <a:spLocks/>
            </p:cNvSpPr>
            <p:nvPr/>
          </p:nvSpPr>
          <p:spPr bwMode="auto">
            <a:xfrm>
              <a:off x="7710659" y="1177003"/>
              <a:ext cx="386476" cy="725784"/>
            </a:xfrm>
            <a:custGeom>
              <a:avLst/>
              <a:gdLst>
                <a:gd name="T0" fmla="*/ 392 w 508"/>
                <a:gd name="T1" fmla="*/ 758 h 954"/>
                <a:gd name="T2" fmla="*/ 392 w 508"/>
                <a:gd name="T3" fmla="*/ 758 h 954"/>
                <a:gd name="T4" fmla="*/ 418 w 508"/>
                <a:gd name="T5" fmla="*/ 756 h 954"/>
                <a:gd name="T6" fmla="*/ 446 w 508"/>
                <a:gd name="T7" fmla="*/ 752 h 954"/>
                <a:gd name="T8" fmla="*/ 476 w 508"/>
                <a:gd name="T9" fmla="*/ 744 h 954"/>
                <a:gd name="T10" fmla="*/ 508 w 508"/>
                <a:gd name="T11" fmla="*/ 734 h 954"/>
                <a:gd name="T12" fmla="*/ 508 w 508"/>
                <a:gd name="T13" fmla="*/ 914 h 954"/>
                <a:gd name="T14" fmla="*/ 508 w 508"/>
                <a:gd name="T15" fmla="*/ 914 h 954"/>
                <a:gd name="T16" fmla="*/ 460 w 508"/>
                <a:gd name="T17" fmla="*/ 932 h 954"/>
                <a:gd name="T18" fmla="*/ 438 w 508"/>
                <a:gd name="T19" fmla="*/ 938 h 954"/>
                <a:gd name="T20" fmla="*/ 416 w 508"/>
                <a:gd name="T21" fmla="*/ 944 h 954"/>
                <a:gd name="T22" fmla="*/ 416 w 508"/>
                <a:gd name="T23" fmla="*/ 944 h 954"/>
                <a:gd name="T24" fmla="*/ 392 w 508"/>
                <a:gd name="T25" fmla="*/ 948 h 954"/>
                <a:gd name="T26" fmla="*/ 368 w 508"/>
                <a:gd name="T27" fmla="*/ 950 h 954"/>
                <a:gd name="T28" fmla="*/ 342 w 508"/>
                <a:gd name="T29" fmla="*/ 952 h 954"/>
                <a:gd name="T30" fmla="*/ 312 w 508"/>
                <a:gd name="T31" fmla="*/ 954 h 954"/>
                <a:gd name="T32" fmla="*/ 312 w 508"/>
                <a:gd name="T33" fmla="*/ 954 h 954"/>
                <a:gd name="T34" fmla="*/ 284 w 508"/>
                <a:gd name="T35" fmla="*/ 952 h 954"/>
                <a:gd name="T36" fmla="*/ 256 w 508"/>
                <a:gd name="T37" fmla="*/ 950 h 954"/>
                <a:gd name="T38" fmla="*/ 230 w 508"/>
                <a:gd name="T39" fmla="*/ 944 h 954"/>
                <a:gd name="T40" fmla="*/ 208 w 508"/>
                <a:gd name="T41" fmla="*/ 938 h 954"/>
                <a:gd name="T42" fmla="*/ 188 w 508"/>
                <a:gd name="T43" fmla="*/ 930 h 954"/>
                <a:gd name="T44" fmla="*/ 168 w 508"/>
                <a:gd name="T45" fmla="*/ 918 h 954"/>
                <a:gd name="T46" fmla="*/ 152 w 508"/>
                <a:gd name="T47" fmla="*/ 906 h 954"/>
                <a:gd name="T48" fmla="*/ 138 w 508"/>
                <a:gd name="T49" fmla="*/ 892 h 954"/>
                <a:gd name="T50" fmla="*/ 138 w 508"/>
                <a:gd name="T51" fmla="*/ 892 h 954"/>
                <a:gd name="T52" fmla="*/ 124 w 508"/>
                <a:gd name="T53" fmla="*/ 876 h 954"/>
                <a:gd name="T54" fmla="*/ 114 w 508"/>
                <a:gd name="T55" fmla="*/ 858 h 954"/>
                <a:gd name="T56" fmla="*/ 104 w 508"/>
                <a:gd name="T57" fmla="*/ 838 h 954"/>
                <a:gd name="T58" fmla="*/ 98 w 508"/>
                <a:gd name="T59" fmla="*/ 814 h 954"/>
                <a:gd name="T60" fmla="*/ 92 w 508"/>
                <a:gd name="T61" fmla="*/ 790 h 954"/>
                <a:gd name="T62" fmla="*/ 86 w 508"/>
                <a:gd name="T63" fmla="*/ 764 h 954"/>
                <a:gd name="T64" fmla="*/ 84 w 508"/>
                <a:gd name="T65" fmla="*/ 736 h 954"/>
                <a:gd name="T66" fmla="*/ 84 w 508"/>
                <a:gd name="T67" fmla="*/ 704 h 954"/>
                <a:gd name="T68" fmla="*/ 84 w 508"/>
                <a:gd name="T69" fmla="*/ 410 h 954"/>
                <a:gd name="T70" fmla="*/ 0 w 508"/>
                <a:gd name="T71" fmla="*/ 410 h 954"/>
                <a:gd name="T72" fmla="*/ 0 w 508"/>
                <a:gd name="T73" fmla="*/ 226 h 954"/>
                <a:gd name="T74" fmla="*/ 84 w 508"/>
                <a:gd name="T75" fmla="*/ 226 h 954"/>
                <a:gd name="T76" fmla="*/ 84 w 508"/>
                <a:gd name="T77" fmla="*/ 40 h 954"/>
                <a:gd name="T78" fmla="*/ 326 w 508"/>
                <a:gd name="T79" fmla="*/ 0 h 954"/>
                <a:gd name="T80" fmla="*/ 326 w 508"/>
                <a:gd name="T81" fmla="*/ 226 h 954"/>
                <a:gd name="T82" fmla="*/ 480 w 508"/>
                <a:gd name="T83" fmla="*/ 226 h 954"/>
                <a:gd name="T84" fmla="*/ 480 w 508"/>
                <a:gd name="T85" fmla="*/ 410 h 954"/>
                <a:gd name="T86" fmla="*/ 326 w 508"/>
                <a:gd name="T87" fmla="*/ 410 h 954"/>
                <a:gd name="T88" fmla="*/ 326 w 508"/>
                <a:gd name="T89" fmla="*/ 688 h 954"/>
                <a:gd name="T90" fmla="*/ 326 w 508"/>
                <a:gd name="T91" fmla="*/ 688 h 954"/>
                <a:gd name="T92" fmla="*/ 328 w 508"/>
                <a:gd name="T93" fmla="*/ 704 h 954"/>
                <a:gd name="T94" fmla="*/ 330 w 508"/>
                <a:gd name="T95" fmla="*/ 718 h 954"/>
                <a:gd name="T96" fmla="*/ 336 w 508"/>
                <a:gd name="T97" fmla="*/ 730 h 954"/>
                <a:gd name="T98" fmla="*/ 342 w 508"/>
                <a:gd name="T99" fmla="*/ 740 h 954"/>
                <a:gd name="T100" fmla="*/ 352 w 508"/>
                <a:gd name="T101" fmla="*/ 748 h 954"/>
                <a:gd name="T102" fmla="*/ 364 w 508"/>
                <a:gd name="T103" fmla="*/ 754 h 954"/>
                <a:gd name="T104" fmla="*/ 376 w 508"/>
                <a:gd name="T105" fmla="*/ 756 h 954"/>
                <a:gd name="T106" fmla="*/ 392 w 508"/>
                <a:gd name="T107" fmla="*/ 758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8" h="954">
                  <a:moveTo>
                    <a:pt x="392" y="758"/>
                  </a:moveTo>
                  <a:lnTo>
                    <a:pt x="392" y="758"/>
                  </a:lnTo>
                  <a:lnTo>
                    <a:pt x="418" y="756"/>
                  </a:lnTo>
                  <a:lnTo>
                    <a:pt x="446" y="752"/>
                  </a:lnTo>
                  <a:lnTo>
                    <a:pt x="476" y="744"/>
                  </a:lnTo>
                  <a:lnTo>
                    <a:pt x="508" y="734"/>
                  </a:lnTo>
                  <a:lnTo>
                    <a:pt x="508" y="914"/>
                  </a:lnTo>
                  <a:lnTo>
                    <a:pt x="508" y="914"/>
                  </a:lnTo>
                  <a:lnTo>
                    <a:pt x="460" y="932"/>
                  </a:lnTo>
                  <a:lnTo>
                    <a:pt x="438" y="938"/>
                  </a:lnTo>
                  <a:lnTo>
                    <a:pt x="416" y="944"/>
                  </a:lnTo>
                  <a:lnTo>
                    <a:pt x="416" y="944"/>
                  </a:lnTo>
                  <a:lnTo>
                    <a:pt x="392" y="948"/>
                  </a:lnTo>
                  <a:lnTo>
                    <a:pt x="368" y="950"/>
                  </a:lnTo>
                  <a:lnTo>
                    <a:pt x="342" y="952"/>
                  </a:lnTo>
                  <a:lnTo>
                    <a:pt x="312" y="954"/>
                  </a:lnTo>
                  <a:lnTo>
                    <a:pt x="312" y="954"/>
                  </a:lnTo>
                  <a:lnTo>
                    <a:pt x="284" y="952"/>
                  </a:lnTo>
                  <a:lnTo>
                    <a:pt x="256" y="950"/>
                  </a:lnTo>
                  <a:lnTo>
                    <a:pt x="230" y="944"/>
                  </a:lnTo>
                  <a:lnTo>
                    <a:pt x="208" y="938"/>
                  </a:lnTo>
                  <a:lnTo>
                    <a:pt x="188" y="930"/>
                  </a:lnTo>
                  <a:lnTo>
                    <a:pt x="168" y="918"/>
                  </a:lnTo>
                  <a:lnTo>
                    <a:pt x="152" y="906"/>
                  </a:lnTo>
                  <a:lnTo>
                    <a:pt x="138" y="892"/>
                  </a:lnTo>
                  <a:lnTo>
                    <a:pt x="138" y="892"/>
                  </a:lnTo>
                  <a:lnTo>
                    <a:pt x="124" y="876"/>
                  </a:lnTo>
                  <a:lnTo>
                    <a:pt x="114" y="858"/>
                  </a:lnTo>
                  <a:lnTo>
                    <a:pt x="104" y="838"/>
                  </a:lnTo>
                  <a:lnTo>
                    <a:pt x="98" y="814"/>
                  </a:lnTo>
                  <a:lnTo>
                    <a:pt x="92" y="790"/>
                  </a:lnTo>
                  <a:lnTo>
                    <a:pt x="86" y="764"/>
                  </a:lnTo>
                  <a:lnTo>
                    <a:pt x="84" y="736"/>
                  </a:lnTo>
                  <a:lnTo>
                    <a:pt x="84" y="704"/>
                  </a:lnTo>
                  <a:lnTo>
                    <a:pt x="84" y="410"/>
                  </a:lnTo>
                  <a:lnTo>
                    <a:pt x="0" y="410"/>
                  </a:lnTo>
                  <a:lnTo>
                    <a:pt x="0" y="226"/>
                  </a:lnTo>
                  <a:lnTo>
                    <a:pt x="84" y="226"/>
                  </a:lnTo>
                  <a:lnTo>
                    <a:pt x="84" y="40"/>
                  </a:lnTo>
                  <a:lnTo>
                    <a:pt x="326" y="0"/>
                  </a:lnTo>
                  <a:lnTo>
                    <a:pt x="326" y="226"/>
                  </a:lnTo>
                  <a:lnTo>
                    <a:pt x="480" y="226"/>
                  </a:lnTo>
                  <a:lnTo>
                    <a:pt x="480" y="410"/>
                  </a:lnTo>
                  <a:lnTo>
                    <a:pt x="326" y="410"/>
                  </a:lnTo>
                  <a:lnTo>
                    <a:pt x="326" y="688"/>
                  </a:lnTo>
                  <a:lnTo>
                    <a:pt x="326" y="688"/>
                  </a:lnTo>
                  <a:lnTo>
                    <a:pt x="328" y="704"/>
                  </a:lnTo>
                  <a:lnTo>
                    <a:pt x="330" y="718"/>
                  </a:lnTo>
                  <a:lnTo>
                    <a:pt x="336" y="730"/>
                  </a:lnTo>
                  <a:lnTo>
                    <a:pt x="342" y="740"/>
                  </a:lnTo>
                  <a:lnTo>
                    <a:pt x="352" y="748"/>
                  </a:lnTo>
                  <a:lnTo>
                    <a:pt x="364" y="754"/>
                  </a:lnTo>
                  <a:lnTo>
                    <a:pt x="376" y="756"/>
                  </a:lnTo>
                  <a:lnTo>
                    <a:pt x="392" y="758"/>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7" name="Freeform 51"/>
            <p:cNvSpPr>
              <a:spLocks noEditPoints="1"/>
            </p:cNvSpPr>
            <p:nvPr/>
          </p:nvSpPr>
          <p:spPr bwMode="auto">
            <a:xfrm>
              <a:off x="8139739" y="1338288"/>
              <a:ext cx="512766" cy="56449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0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298 w 674"/>
                <a:gd name="T101" fmla="*/ 184 h 742"/>
                <a:gd name="T102" fmla="*/ 334 w 674"/>
                <a:gd name="T103" fmla="*/ 170 h 742"/>
                <a:gd name="T104" fmla="*/ 354 w 674"/>
                <a:gd name="T105" fmla="*/ 168 h 742"/>
                <a:gd name="T106" fmla="*/ 396 w 674"/>
                <a:gd name="T107" fmla="*/ 176 h 742"/>
                <a:gd name="T108" fmla="*/ 428 w 674"/>
                <a:gd name="T109" fmla="*/ 200 h 742"/>
                <a:gd name="T110" fmla="*/ 440 w 674"/>
                <a:gd name="T111" fmla="*/ 216 h 742"/>
                <a:gd name="T112" fmla="*/ 454 w 674"/>
                <a:gd name="T113" fmla="*/ 258 h 742"/>
                <a:gd name="T114" fmla="*/ 248 w 674"/>
                <a:gd name="T115"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0" y="552"/>
                  </a:lnTo>
                  <a:lnTo>
                    <a:pt x="308" y="546"/>
                  </a:lnTo>
                  <a:lnTo>
                    <a:pt x="298" y="540"/>
                  </a:lnTo>
                  <a:lnTo>
                    <a:pt x="286" y="532"/>
                  </a:lnTo>
                  <a:lnTo>
                    <a:pt x="286" y="532"/>
                  </a:lnTo>
                  <a:lnTo>
                    <a:pt x="278" y="522"/>
                  </a:lnTo>
                  <a:lnTo>
                    <a:pt x="268" y="512"/>
                  </a:lnTo>
                  <a:lnTo>
                    <a:pt x="262" y="502"/>
                  </a:lnTo>
                  <a:lnTo>
                    <a:pt x="256" y="490"/>
                  </a:lnTo>
                  <a:lnTo>
                    <a:pt x="250" y="478"/>
                  </a:lnTo>
                  <a:lnTo>
                    <a:pt x="248" y="466"/>
                  </a:lnTo>
                  <a:lnTo>
                    <a:pt x="244"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76" y="204"/>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sp>
          <p:nvSpPr>
            <p:cNvPr id="48" name="Freeform 54"/>
            <p:cNvSpPr>
              <a:spLocks noEditPoints="1"/>
            </p:cNvSpPr>
            <p:nvPr/>
          </p:nvSpPr>
          <p:spPr bwMode="auto">
            <a:xfrm>
              <a:off x="5586560" y="1338288"/>
              <a:ext cx="512766" cy="564499"/>
            </a:xfrm>
            <a:custGeom>
              <a:avLst/>
              <a:gdLst>
                <a:gd name="T0" fmla="*/ 588 w 674"/>
                <a:gd name="T1" fmla="*/ 84 h 742"/>
                <a:gd name="T2" fmla="*/ 542 w 674"/>
                <a:gd name="T3" fmla="*/ 48 h 742"/>
                <a:gd name="T4" fmla="*/ 484 w 674"/>
                <a:gd name="T5" fmla="*/ 22 h 742"/>
                <a:gd name="T6" fmla="*/ 420 w 674"/>
                <a:gd name="T7" fmla="*/ 6 h 742"/>
                <a:gd name="T8" fmla="*/ 344 w 674"/>
                <a:gd name="T9" fmla="*/ 0 h 742"/>
                <a:gd name="T10" fmla="*/ 304 w 674"/>
                <a:gd name="T11" fmla="*/ 2 h 742"/>
                <a:gd name="T12" fmla="*/ 232 w 674"/>
                <a:gd name="T13" fmla="*/ 14 h 742"/>
                <a:gd name="T14" fmla="*/ 168 w 674"/>
                <a:gd name="T15" fmla="*/ 38 h 742"/>
                <a:gd name="T16" fmla="*/ 114 w 674"/>
                <a:gd name="T17" fmla="*/ 74 h 742"/>
                <a:gd name="T18" fmla="*/ 90 w 674"/>
                <a:gd name="T19" fmla="*/ 98 h 742"/>
                <a:gd name="T20" fmla="*/ 50 w 674"/>
                <a:gd name="T21" fmla="*/ 152 h 742"/>
                <a:gd name="T22" fmla="*/ 22 w 674"/>
                <a:gd name="T23" fmla="*/ 216 h 742"/>
                <a:gd name="T24" fmla="*/ 6 w 674"/>
                <a:gd name="T25" fmla="*/ 290 h 742"/>
                <a:gd name="T26" fmla="*/ 0 w 674"/>
                <a:gd name="T27" fmla="*/ 376 h 742"/>
                <a:gd name="T28" fmla="*/ 2 w 674"/>
                <a:gd name="T29" fmla="*/ 418 h 742"/>
                <a:gd name="T30" fmla="*/ 14 w 674"/>
                <a:gd name="T31" fmla="*/ 496 h 742"/>
                <a:gd name="T32" fmla="*/ 38 w 674"/>
                <a:gd name="T33" fmla="*/ 564 h 742"/>
                <a:gd name="T34" fmla="*/ 74 w 674"/>
                <a:gd name="T35" fmla="*/ 622 h 742"/>
                <a:gd name="T36" fmla="*/ 96 w 674"/>
                <a:gd name="T37" fmla="*/ 646 h 742"/>
                <a:gd name="T38" fmla="*/ 150 w 674"/>
                <a:gd name="T39" fmla="*/ 688 h 742"/>
                <a:gd name="T40" fmla="*/ 212 w 674"/>
                <a:gd name="T41" fmla="*/ 718 h 742"/>
                <a:gd name="T42" fmla="*/ 286 w 674"/>
                <a:gd name="T43" fmla="*/ 736 h 742"/>
                <a:gd name="T44" fmla="*/ 368 w 674"/>
                <a:gd name="T45" fmla="*/ 742 h 742"/>
                <a:gd name="T46" fmla="*/ 408 w 674"/>
                <a:gd name="T47" fmla="*/ 740 h 742"/>
                <a:gd name="T48" fmla="*/ 480 w 674"/>
                <a:gd name="T49" fmla="*/ 734 h 742"/>
                <a:gd name="T50" fmla="*/ 512 w 674"/>
                <a:gd name="T51" fmla="*/ 730 h 742"/>
                <a:gd name="T52" fmla="*/ 572 w 674"/>
                <a:gd name="T53" fmla="*/ 714 h 742"/>
                <a:gd name="T54" fmla="*/ 628 w 674"/>
                <a:gd name="T55" fmla="*/ 690 h 742"/>
                <a:gd name="T56" fmla="*/ 592 w 674"/>
                <a:gd name="T57" fmla="*/ 528 h 742"/>
                <a:gd name="T58" fmla="*/ 514 w 674"/>
                <a:gd name="T59" fmla="*/ 554 h 742"/>
                <a:gd name="T60" fmla="*/ 486 w 674"/>
                <a:gd name="T61" fmla="*/ 558 h 742"/>
                <a:gd name="T62" fmla="*/ 428 w 674"/>
                <a:gd name="T63" fmla="*/ 564 h 742"/>
                <a:gd name="T64" fmla="*/ 396 w 674"/>
                <a:gd name="T65" fmla="*/ 566 h 742"/>
                <a:gd name="T66" fmla="*/ 348 w 674"/>
                <a:gd name="T67" fmla="*/ 560 h 742"/>
                <a:gd name="T68" fmla="*/ 322 w 674"/>
                <a:gd name="T69" fmla="*/ 552 h 742"/>
                <a:gd name="T70" fmla="*/ 298 w 674"/>
                <a:gd name="T71" fmla="*/ 540 h 742"/>
                <a:gd name="T72" fmla="*/ 286 w 674"/>
                <a:gd name="T73" fmla="*/ 532 h 742"/>
                <a:gd name="T74" fmla="*/ 268 w 674"/>
                <a:gd name="T75" fmla="*/ 512 h 742"/>
                <a:gd name="T76" fmla="*/ 256 w 674"/>
                <a:gd name="T77" fmla="*/ 490 h 742"/>
                <a:gd name="T78" fmla="*/ 248 w 674"/>
                <a:gd name="T79" fmla="*/ 466 h 742"/>
                <a:gd name="T80" fmla="*/ 244 w 674"/>
                <a:gd name="T81" fmla="*/ 438 h 742"/>
                <a:gd name="T82" fmla="*/ 674 w 674"/>
                <a:gd name="T83" fmla="*/ 328 h 742"/>
                <a:gd name="T84" fmla="*/ 674 w 674"/>
                <a:gd name="T85" fmla="*/ 290 h 742"/>
                <a:gd name="T86" fmla="*/ 662 w 674"/>
                <a:gd name="T87" fmla="*/ 220 h 742"/>
                <a:gd name="T88" fmla="*/ 642 w 674"/>
                <a:gd name="T89" fmla="*/ 158 h 742"/>
                <a:gd name="T90" fmla="*/ 608 w 674"/>
                <a:gd name="T91" fmla="*/ 106 h 742"/>
                <a:gd name="T92" fmla="*/ 248 w 674"/>
                <a:gd name="T93" fmla="*/ 282 h 742"/>
                <a:gd name="T94" fmla="*/ 252 w 674"/>
                <a:gd name="T95" fmla="*/ 254 h 742"/>
                <a:gd name="T96" fmla="*/ 270 w 674"/>
                <a:gd name="T97" fmla="*/ 212 h 742"/>
                <a:gd name="T98" fmla="*/ 282 w 674"/>
                <a:gd name="T99" fmla="*/ 196 h 742"/>
                <a:gd name="T100" fmla="*/ 314 w 674"/>
                <a:gd name="T101" fmla="*/ 176 h 742"/>
                <a:gd name="T102" fmla="*/ 354 w 674"/>
                <a:gd name="T103" fmla="*/ 168 h 742"/>
                <a:gd name="T104" fmla="*/ 376 w 674"/>
                <a:gd name="T105" fmla="*/ 170 h 742"/>
                <a:gd name="T106" fmla="*/ 412 w 674"/>
                <a:gd name="T107" fmla="*/ 186 h 742"/>
                <a:gd name="T108" fmla="*/ 428 w 674"/>
                <a:gd name="T109" fmla="*/ 200 h 742"/>
                <a:gd name="T110" fmla="*/ 448 w 674"/>
                <a:gd name="T111" fmla="*/ 236 h 742"/>
                <a:gd name="T112" fmla="*/ 456 w 674"/>
                <a:gd name="T113" fmla="*/ 282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4" h="742">
                  <a:moveTo>
                    <a:pt x="588" y="84"/>
                  </a:moveTo>
                  <a:lnTo>
                    <a:pt x="588" y="84"/>
                  </a:lnTo>
                  <a:lnTo>
                    <a:pt x="566" y="64"/>
                  </a:lnTo>
                  <a:lnTo>
                    <a:pt x="542" y="48"/>
                  </a:lnTo>
                  <a:lnTo>
                    <a:pt x="514" y="34"/>
                  </a:lnTo>
                  <a:lnTo>
                    <a:pt x="484" y="22"/>
                  </a:lnTo>
                  <a:lnTo>
                    <a:pt x="454" y="12"/>
                  </a:lnTo>
                  <a:lnTo>
                    <a:pt x="420" y="6"/>
                  </a:lnTo>
                  <a:lnTo>
                    <a:pt x="384" y="2"/>
                  </a:lnTo>
                  <a:lnTo>
                    <a:pt x="344" y="0"/>
                  </a:lnTo>
                  <a:lnTo>
                    <a:pt x="344" y="0"/>
                  </a:lnTo>
                  <a:lnTo>
                    <a:pt x="304" y="2"/>
                  </a:lnTo>
                  <a:lnTo>
                    <a:pt x="266" y="6"/>
                  </a:lnTo>
                  <a:lnTo>
                    <a:pt x="232" y="14"/>
                  </a:lnTo>
                  <a:lnTo>
                    <a:pt x="198" y="24"/>
                  </a:lnTo>
                  <a:lnTo>
                    <a:pt x="168" y="38"/>
                  </a:lnTo>
                  <a:lnTo>
                    <a:pt x="140" y="54"/>
                  </a:lnTo>
                  <a:lnTo>
                    <a:pt x="114" y="74"/>
                  </a:lnTo>
                  <a:lnTo>
                    <a:pt x="90" y="98"/>
                  </a:lnTo>
                  <a:lnTo>
                    <a:pt x="90" y="98"/>
                  </a:lnTo>
                  <a:lnTo>
                    <a:pt x="68" y="122"/>
                  </a:lnTo>
                  <a:lnTo>
                    <a:pt x="50" y="152"/>
                  </a:lnTo>
                  <a:lnTo>
                    <a:pt x="36" y="182"/>
                  </a:lnTo>
                  <a:lnTo>
                    <a:pt x="22" y="216"/>
                  </a:lnTo>
                  <a:lnTo>
                    <a:pt x="12" y="252"/>
                  </a:lnTo>
                  <a:lnTo>
                    <a:pt x="6" y="290"/>
                  </a:lnTo>
                  <a:lnTo>
                    <a:pt x="2" y="332"/>
                  </a:lnTo>
                  <a:lnTo>
                    <a:pt x="0" y="376"/>
                  </a:lnTo>
                  <a:lnTo>
                    <a:pt x="0" y="376"/>
                  </a:lnTo>
                  <a:lnTo>
                    <a:pt x="2" y="418"/>
                  </a:lnTo>
                  <a:lnTo>
                    <a:pt x="6" y="458"/>
                  </a:lnTo>
                  <a:lnTo>
                    <a:pt x="14" y="496"/>
                  </a:lnTo>
                  <a:lnTo>
                    <a:pt x="24" y="530"/>
                  </a:lnTo>
                  <a:lnTo>
                    <a:pt x="38" y="564"/>
                  </a:lnTo>
                  <a:lnTo>
                    <a:pt x="54" y="594"/>
                  </a:lnTo>
                  <a:lnTo>
                    <a:pt x="74" y="622"/>
                  </a:lnTo>
                  <a:lnTo>
                    <a:pt x="96" y="646"/>
                  </a:lnTo>
                  <a:lnTo>
                    <a:pt x="96" y="646"/>
                  </a:lnTo>
                  <a:lnTo>
                    <a:pt x="122" y="668"/>
                  </a:lnTo>
                  <a:lnTo>
                    <a:pt x="150" y="688"/>
                  </a:lnTo>
                  <a:lnTo>
                    <a:pt x="180" y="704"/>
                  </a:lnTo>
                  <a:lnTo>
                    <a:pt x="212" y="718"/>
                  </a:lnTo>
                  <a:lnTo>
                    <a:pt x="248" y="728"/>
                  </a:lnTo>
                  <a:lnTo>
                    <a:pt x="286" y="736"/>
                  </a:lnTo>
                  <a:lnTo>
                    <a:pt x="326" y="740"/>
                  </a:lnTo>
                  <a:lnTo>
                    <a:pt x="368" y="742"/>
                  </a:lnTo>
                  <a:lnTo>
                    <a:pt x="368" y="742"/>
                  </a:lnTo>
                  <a:lnTo>
                    <a:pt x="408" y="740"/>
                  </a:lnTo>
                  <a:lnTo>
                    <a:pt x="446" y="738"/>
                  </a:lnTo>
                  <a:lnTo>
                    <a:pt x="480" y="734"/>
                  </a:lnTo>
                  <a:lnTo>
                    <a:pt x="512" y="730"/>
                  </a:lnTo>
                  <a:lnTo>
                    <a:pt x="512" y="730"/>
                  </a:lnTo>
                  <a:lnTo>
                    <a:pt x="542" y="722"/>
                  </a:lnTo>
                  <a:lnTo>
                    <a:pt x="572" y="714"/>
                  </a:lnTo>
                  <a:lnTo>
                    <a:pt x="600" y="702"/>
                  </a:lnTo>
                  <a:lnTo>
                    <a:pt x="628" y="690"/>
                  </a:lnTo>
                  <a:lnTo>
                    <a:pt x="592" y="528"/>
                  </a:lnTo>
                  <a:lnTo>
                    <a:pt x="592" y="528"/>
                  </a:lnTo>
                  <a:lnTo>
                    <a:pt x="552" y="542"/>
                  </a:lnTo>
                  <a:lnTo>
                    <a:pt x="514" y="554"/>
                  </a:lnTo>
                  <a:lnTo>
                    <a:pt x="514" y="554"/>
                  </a:lnTo>
                  <a:lnTo>
                    <a:pt x="486" y="558"/>
                  </a:lnTo>
                  <a:lnTo>
                    <a:pt x="458" y="562"/>
                  </a:lnTo>
                  <a:lnTo>
                    <a:pt x="428" y="564"/>
                  </a:lnTo>
                  <a:lnTo>
                    <a:pt x="396" y="566"/>
                  </a:lnTo>
                  <a:lnTo>
                    <a:pt x="396" y="566"/>
                  </a:lnTo>
                  <a:lnTo>
                    <a:pt x="364" y="564"/>
                  </a:lnTo>
                  <a:lnTo>
                    <a:pt x="348" y="560"/>
                  </a:lnTo>
                  <a:lnTo>
                    <a:pt x="334" y="558"/>
                  </a:lnTo>
                  <a:lnTo>
                    <a:pt x="322" y="552"/>
                  </a:lnTo>
                  <a:lnTo>
                    <a:pt x="308" y="546"/>
                  </a:lnTo>
                  <a:lnTo>
                    <a:pt x="298" y="540"/>
                  </a:lnTo>
                  <a:lnTo>
                    <a:pt x="286" y="532"/>
                  </a:lnTo>
                  <a:lnTo>
                    <a:pt x="286" y="532"/>
                  </a:lnTo>
                  <a:lnTo>
                    <a:pt x="278" y="522"/>
                  </a:lnTo>
                  <a:lnTo>
                    <a:pt x="268" y="512"/>
                  </a:lnTo>
                  <a:lnTo>
                    <a:pt x="262" y="502"/>
                  </a:lnTo>
                  <a:lnTo>
                    <a:pt x="256" y="490"/>
                  </a:lnTo>
                  <a:lnTo>
                    <a:pt x="252" y="478"/>
                  </a:lnTo>
                  <a:lnTo>
                    <a:pt x="248" y="466"/>
                  </a:lnTo>
                  <a:lnTo>
                    <a:pt x="246" y="452"/>
                  </a:lnTo>
                  <a:lnTo>
                    <a:pt x="244" y="438"/>
                  </a:lnTo>
                  <a:lnTo>
                    <a:pt x="674" y="438"/>
                  </a:lnTo>
                  <a:lnTo>
                    <a:pt x="674" y="328"/>
                  </a:lnTo>
                  <a:lnTo>
                    <a:pt x="674" y="328"/>
                  </a:lnTo>
                  <a:lnTo>
                    <a:pt x="674" y="290"/>
                  </a:lnTo>
                  <a:lnTo>
                    <a:pt x="670" y="252"/>
                  </a:lnTo>
                  <a:lnTo>
                    <a:pt x="662" y="220"/>
                  </a:lnTo>
                  <a:lnTo>
                    <a:pt x="654" y="188"/>
                  </a:lnTo>
                  <a:lnTo>
                    <a:pt x="642" y="158"/>
                  </a:lnTo>
                  <a:lnTo>
                    <a:pt x="626" y="132"/>
                  </a:lnTo>
                  <a:lnTo>
                    <a:pt x="608" y="106"/>
                  </a:lnTo>
                  <a:lnTo>
                    <a:pt x="588" y="84"/>
                  </a:lnTo>
                  <a:close/>
                  <a:moveTo>
                    <a:pt x="248" y="282"/>
                  </a:moveTo>
                  <a:lnTo>
                    <a:pt x="248" y="282"/>
                  </a:lnTo>
                  <a:lnTo>
                    <a:pt x="252" y="254"/>
                  </a:lnTo>
                  <a:lnTo>
                    <a:pt x="260" y="232"/>
                  </a:lnTo>
                  <a:lnTo>
                    <a:pt x="270" y="212"/>
                  </a:lnTo>
                  <a:lnTo>
                    <a:pt x="282" y="196"/>
                  </a:lnTo>
                  <a:lnTo>
                    <a:pt x="282" y="196"/>
                  </a:lnTo>
                  <a:lnTo>
                    <a:pt x="298" y="184"/>
                  </a:lnTo>
                  <a:lnTo>
                    <a:pt x="314" y="176"/>
                  </a:lnTo>
                  <a:lnTo>
                    <a:pt x="334" y="170"/>
                  </a:lnTo>
                  <a:lnTo>
                    <a:pt x="354" y="168"/>
                  </a:lnTo>
                  <a:lnTo>
                    <a:pt x="354" y="168"/>
                  </a:lnTo>
                  <a:lnTo>
                    <a:pt x="376" y="170"/>
                  </a:lnTo>
                  <a:lnTo>
                    <a:pt x="396" y="176"/>
                  </a:lnTo>
                  <a:lnTo>
                    <a:pt x="412" y="186"/>
                  </a:lnTo>
                  <a:lnTo>
                    <a:pt x="428" y="200"/>
                  </a:lnTo>
                  <a:lnTo>
                    <a:pt x="428" y="200"/>
                  </a:lnTo>
                  <a:lnTo>
                    <a:pt x="440" y="216"/>
                  </a:lnTo>
                  <a:lnTo>
                    <a:pt x="448" y="236"/>
                  </a:lnTo>
                  <a:lnTo>
                    <a:pt x="454" y="258"/>
                  </a:lnTo>
                  <a:lnTo>
                    <a:pt x="456" y="282"/>
                  </a:lnTo>
                  <a:lnTo>
                    <a:pt x="248" y="282"/>
                  </a:ln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a:p>
          </p:txBody>
        </p:sp>
      </p:grpSp>
      <p:sp>
        <p:nvSpPr>
          <p:cNvPr id="49" name="TextBox 21"/>
          <p:cNvSpPr txBox="1"/>
          <p:nvPr userDrawn="1"/>
        </p:nvSpPr>
        <p:spPr>
          <a:xfrm>
            <a:off x="-808919" y="4592996"/>
            <a:ext cx="747431" cy="431400"/>
          </a:xfrm>
          <a:prstGeom prst="rect">
            <a:avLst/>
          </a:prstGeom>
          <a:noFill/>
          <a:ln>
            <a:noFill/>
          </a:ln>
        </p:spPr>
        <p:txBody>
          <a:bodyPr wrap="square" lIns="0" tIns="0" rIns="0" bIns="0" rtlCol="0">
            <a:spAutoFit/>
          </a:bodyPr>
          <a:lstStyle/>
          <a:p>
            <a:pPr algn="r">
              <a:spcAft>
                <a:spcPts val="270"/>
              </a:spcAft>
            </a:pPr>
            <a:r>
              <a:rPr lang="en-US" sz="701" baseline="0" noProof="0" dirty="0" smtClean="0">
                <a:ln>
                  <a:noFill/>
                </a:ln>
                <a:solidFill>
                  <a:schemeClr val="bg1">
                    <a:lumMod val="65000"/>
                  </a:schemeClr>
                </a:solidFill>
              </a:rPr>
              <a:t>Grey markers</a:t>
            </a:r>
            <a:r>
              <a:rPr lang="en-US" sz="701" dirty="0" smtClean="0">
                <a:ln>
                  <a:noFill/>
                </a:ln>
                <a:solidFill>
                  <a:schemeClr val="bg1">
                    <a:lumMod val="65000"/>
                  </a:schemeClr>
                </a:solidFill>
              </a:rPr>
              <a:t> indicate position of Deloitte Drawing Guides</a:t>
            </a:r>
            <a:endParaRPr lang="en-US" sz="701" baseline="0" noProof="0" dirty="0" smtClean="0">
              <a:ln>
                <a:noFill/>
              </a:ln>
              <a:solidFill>
                <a:schemeClr val="bg1">
                  <a:lumMod val="65000"/>
                </a:schemeClr>
              </a:solidFill>
            </a:endParaRPr>
          </a:p>
        </p:txBody>
      </p:sp>
      <p:cxnSp>
        <p:nvCxnSpPr>
          <p:cNvPr id="50" name="Straight Arrow Connector 12"/>
          <p:cNvCxnSpPr/>
          <p:nvPr userDrawn="1"/>
        </p:nvCxnSpPr>
        <p:spPr>
          <a:xfrm>
            <a:off x="-381894" y="4462068"/>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1" name="Straight Arrow Connector 12"/>
          <p:cNvCxnSpPr/>
          <p:nvPr userDrawn="1"/>
        </p:nvCxnSpPr>
        <p:spPr>
          <a:xfrm>
            <a:off x="-392411"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2" name="Straight Arrow Connector 12"/>
          <p:cNvCxnSpPr/>
          <p:nvPr userDrawn="1"/>
        </p:nvCxnSpPr>
        <p:spPr>
          <a:xfrm>
            <a:off x="6015633"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3" name="Straight Arrow Connector 12"/>
          <p:cNvCxnSpPr/>
          <p:nvPr userDrawn="1"/>
        </p:nvCxnSpPr>
        <p:spPr>
          <a:xfrm>
            <a:off x="6015633" y="4463033"/>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4" name="Straight Arrow Connector 14"/>
          <p:cNvCxnSpPr/>
          <p:nvPr userDrawn="1"/>
        </p:nvCxnSpPr>
        <p:spPr>
          <a:xfrm>
            <a:off x="5738945"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5" name="Straight Arrow Connector 14"/>
          <p:cNvCxnSpPr/>
          <p:nvPr userDrawn="1"/>
        </p:nvCxnSpPr>
        <p:spPr>
          <a:xfrm>
            <a:off x="226418" y="-29095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6" name="Straight Arrow Connector 14"/>
          <p:cNvCxnSpPr/>
          <p:nvPr userDrawn="1"/>
        </p:nvCxnSpPr>
        <p:spPr>
          <a:xfrm>
            <a:off x="5738945" y="-320178"/>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57" name="Straight Arrow Connector 14"/>
          <p:cNvCxnSpPr/>
          <p:nvPr userDrawn="1"/>
        </p:nvCxnSpPr>
        <p:spPr>
          <a:xfrm>
            <a:off x="226418"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
        <p:nvSpPr>
          <p:cNvPr id="37" name="Picture Placeholder 8"/>
          <p:cNvSpPr>
            <a:spLocks noGrp="1"/>
          </p:cNvSpPr>
          <p:nvPr>
            <p:ph type="pic" sz="quarter" idx="12" hasCustomPrompt="1"/>
          </p:nvPr>
        </p:nvSpPr>
        <p:spPr>
          <a:xfrm>
            <a:off x="4996211" y="322845"/>
            <a:ext cx="742735" cy="339524"/>
          </a:xfrm>
          <a:prstGeom prst="rect">
            <a:avLst/>
          </a:prstGeom>
        </p:spPr>
        <p:txBody>
          <a:bodyPr/>
          <a:lstStyle>
            <a:lvl1pPr>
              <a:defRPr b="1" baseline="0">
                <a:solidFill>
                  <a:schemeClr val="tx1"/>
                </a:solidFill>
                <a:latin typeface="Calibri" panose="020F0502020204030204" pitchFamily="34" charset="0"/>
                <a:cs typeface="Calibri" panose="020F0502020204030204" pitchFamily="34" charset="0"/>
              </a:defRPr>
            </a:lvl1pPr>
          </a:lstStyle>
          <a:p>
            <a:r>
              <a:rPr lang="en-US" noProof="0" dirty="0" smtClean="0"/>
              <a:t>Co-brand logo here</a:t>
            </a:r>
          </a:p>
          <a:p>
            <a:endParaRPr lang="en-US" noProof="0" dirty="0"/>
          </a:p>
        </p:txBody>
      </p:sp>
    </p:spTree>
    <p:extLst>
      <p:ext uri="{BB962C8B-B14F-4D97-AF65-F5344CB8AC3E}">
        <p14:creationId xmlns:p14="http://schemas.microsoft.com/office/powerpoint/2010/main" val="52761153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816"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分隔頁_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230059" y="1171263"/>
            <a:ext cx="5100593" cy="1096989"/>
          </a:xfrm>
        </p:spPr>
        <p:txBody>
          <a:bodyPr anchor="b"/>
          <a:lstStyle>
            <a:lvl1pPr>
              <a:lnSpc>
                <a:spcPct val="95000"/>
              </a:lnSpc>
              <a:defRPr sz="3701" b="1">
                <a:solidFill>
                  <a:schemeClr val="bg1"/>
                </a:solidFill>
                <a:latin typeface="Calibri" panose="020F0502020204030204" pitchFamily="34" charset="0"/>
                <a:ea typeface="微軟正黑體" panose="020B0604030504040204" pitchFamily="34" charset="-120"/>
                <a:cs typeface="Calibri" panose="020F0502020204030204" pitchFamily="34" charset="0"/>
              </a:defRPr>
            </a:lvl1pPr>
          </a:lstStyle>
          <a:p>
            <a:r>
              <a:rPr lang="zh-TW" altLang="en-US" noProof="0" smtClean="0"/>
              <a:t>按一下以編輯母片標題樣式</a:t>
            </a:r>
            <a:endParaRPr lang="en-US" noProof="0" dirty="0"/>
          </a:p>
        </p:txBody>
      </p:sp>
      <p:sp>
        <p:nvSpPr>
          <p:cNvPr id="3" name="Text Placeholder 2"/>
          <p:cNvSpPr>
            <a:spLocks noGrp="1"/>
          </p:cNvSpPr>
          <p:nvPr>
            <p:ph type="body" idx="1"/>
          </p:nvPr>
        </p:nvSpPr>
        <p:spPr bwMode="gray">
          <a:xfrm>
            <a:off x="230056" y="2358442"/>
            <a:ext cx="5100594" cy="1079166"/>
          </a:xfrm>
        </p:spPr>
        <p:txBody>
          <a:bodyPr lIns="0" tIns="0" rIns="0" bIns="0">
            <a:noAutofit/>
          </a:bodyPr>
          <a:lstStyle>
            <a:lvl1pPr marL="0" indent="0">
              <a:lnSpc>
                <a:spcPct val="95000"/>
              </a:lnSpc>
              <a:spcAft>
                <a:spcPts val="0"/>
              </a:spcAft>
              <a:buNone/>
              <a:defRPr sz="3701">
                <a:solidFill>
                  <a:schemeClr val="bg1"/>
                </a:solidFill>
                <a:latin typeface="Calibri" panose="020F0502020204030204" pitchFamily="34" charset="0"/>
                <a:cs typeface="Calibri" panose="020F0502020204030204" pitchFamily="34" charset="0"/>
              </a:defRPr>
            </a:lvl1pPr>
            <a:lvl2pPr marL="609589" indent="0">
              <a:buNone/>
              <a:defRPr sz="2668">
                <a:solidFill>
                  <a:schemeClr val="tx1">
                    <a:tint val="75000"/>
                  </a:schemeClr>
                </a:solidFill>
              </a:defRPr>
            </a:lvl2pPr>
            <a:lvl3pPr marL="1219179" indent="0">
              <a:buNone/>
              <a:defRPr sz="2400">
                <a:solidFill>
                  <a:schemeClr val="tx1">
                    <a:tint val="75000"/>
                  </a:schemeClr>
                </a:solidFill>
              </a:defRPr>
            </a:lvl3pPr>
            <a:lvl4pPr marL="1828768" indent="0">
              <a:buNone/>
              <a:defRPr sz="2132">
                <a:solidFill>
                  <a:schemeClr val="tx1">
                    <a:tint val="75000"/>
                  </a:schemeClr>
                </a:solidFill>
              </a:defRPr>
            </a:lvl4pPr>
            <a:lvl5pPr marL="2438358" indent="0">
              <a:buNone/>
              <a:defRPr sz="2132">
                <a:solidFill>
                  <a:schemeClr val="tx1">
                    <a:tint val="75000"/>
                  </a:schemeClr>
                </a:solidFill>
              </a:defRPr>
            </a:lvl5pPr>
            <a:lvl6pPr marL="3047945" indent="0">
              <a:buNone/>
              <a:defRPr sz="2132">
                <a:solidFill>
                  <a:schemeClr val="tx1">
                    <a:tint val="75000"/>
                  </a:schemeClr>
                </a:solidFill>
              </a:defRPr>
            </a:lvl6pPr>
            <a:lvl7pPr marL="3657535" indent="0">
              <a:buNone/>
              <a:defRPr sz="2132">
                <a:solidFill>
                  <a:schemeClr val="tx1">
                    <a:tint val="75000"/>
                  </a:schemeClr>
                </a:solidFill>
              </a:defRPr>
            </a:lvl7pPr>
            <a:lvl8pPr marL="4267122" indent="0">
              <a:buNone/>
              <a:defRPr sz="2132">
                <a:solidFill>
                  <a:schemeClr val="tx1">
                    <a:tint val="75000"/>
                  </a:schemeClr>
                </a:solidFill>
              </a:defRPr>
            </a:lvl8pPr>
            <a:lvl9pPr marL="4876714" indent="0">
              <a:buNone/>
              <a:defRPr sz="2132">
                <a:solidFill>
                  <a:schemeClr val="tx1">
                    <a:tint val="75000"/>
                  </a:schemeClr>
                </a:solidFill>
              </a:defRPr>
            </a:lvl9pPr>
          </a:lstStyle>
          <a:p>
            <a:pPr lvl="0"/>
            <a:r>
              <a:rPr lang="zh-TW" altLang="en-US" noProof="0" smtClean="0"/>
              <a:t>編輯母片文字樣式</a:t>
            </a:r>
          </a:p>
        </p:txBody>
      </p:sp>
      <p:sp>
        <p:nvSpPr>
          <p:cNvPr id="13" name="TextBox 12"/>
          <p:cNvSpPr txBox="1"/>
          <p:nvPr userDrawn="1"/>
        </p:nvSpPr>
        <p:spPr>
          <a:xfrm>
            <a:off x="230059" y="4461935"/>
            <a:ext cx="2621801" cy="100348"/>
          </a:xfrm>
          <a:prstGeom prst="rect">
            <a:avLst/>
          </a:prstGeom>
          <a:noFill/>
        </p:spPr>
        <p:txBody>
          <a:bodyPr wrap="square" lIns="0" tIns="0" rIns="0" bIns="0" rtlCol="0">
            <a:spAutoFit/>
          </a:bodyPr>
          <a:lstStyle/>
          <a:p>
            <a:pPr marL="0" indent="0">
              <a:spcBef>
                <a:spcPts val="601"/>
              </a:spcBef>
              <a:buSzPct val="100000"/>
              <a:buFont typeface="Arial"/>
              <a:buNone/>
            </a:pPr>
            <a:r>
              <a:rPr lang="zh-TW" altLang="en-US" sz="652" noProof="0" dirty="0" smtClean="0">
                <a:solidFill>
                  <a:schemeClr val="bg1"/>
                </a:solidFill>
                <a:latin typeface="微軟正黑體" panose="020B0604030504040204" pitchFamily="34" charset="-120"/>
                <a:ea typeface="微軟正黑體" panose="020B0604030504040204" pitchFamily="34" charset="-120"/>
              </a:rPr>
              <a:t>勤業眾信版權所有 保留一切權利</a:t>
            </a:r>
          </a:p>
        </p:txBody>
      </p:sp>
      <p:sp>
        <p:nvSpPr>
          <p:cNvPr id="14" name="TextBox 13"/>
          <p:cNvSpPr txBox="1"/>
          <p:nvPr userDrawn="1"/>
        </p:nvSpPr>
        <p:spPr>
          <a:xfrm>
            <a:off x="5588168" y="4461935"/>
            <a:ext cx="150779" cy="100348"/>
          </a:xfrm>
          <a:prstGeom prst="rect">
            <a:avLst/>
          </a:prstGeom>
          <a:noFill/>
        </p:spPr>
        <p:txBody>
          <a:bodyPr wrap="square" lIns="0" tIns="0" rIns="0" bIns="0" rtlCol="0">
            <a:spAutoFit/>
          </a:bodyPr>
          <a:lstStyle/>
          <a:p>
            <a:pPr marL="0" indent="0" algn="r">
              <a:spcBef>
                <a:spcPts val="801"/>
              </a:spcBef>
              <a:buSzPct val="100000"/>
              <a:buFont typeface="Arial"/>
              <a:buNone/>
            </a:pPr>
            <a:fld id="{C58DF478-B544-4ED8-9ED4-6A2648E2D233}" type="slidenum">
              <a:rPr lang="en-US" sz="652" noProof="0" smtClean="0">
                <a:solidFill>
                  <a:schemeClr val="bg1"/>
                </a:solidFill>
              </a:rPr>
              <a:pPr marL="0" indent="0" algn="r">
                <a:spcBef>
                  <a:spcPts val="801"/>
                </a:spcBef>
                <a:buSzPct val="100000"/>
                <a:buFont typeface="Arial"/>
                <a:buNone/>
              </a:pPr>
              <a:t>‹#›</a:t>
            </a:fld>
            <a:endParaRPr lang="en-US" sz="652" noProof="0" dirty="0">
              <a:solidFill>
                <a:schemeClr val="bg1"/>
              </a:solidFill>
            </a:endParaRPr>
          </a:p>
        </p:txBody>
      </p:sp>
      <p:sp>
        <p:nvSpPr>
          <p:cNvPr id="16" name="TextBox 21"/>
          <p:cNvSpPr txBox="1"/>
          <p:nvPr userDrawn="1"/>
        </p:nvSpPr>
        <p:spPr>
          <a:xfrm>
            <a:off x="-808919" y="4592996"/>
            <a:ext cx="747431" cy="431400"/>
          </a:xfrm>
          <a:prstGeom prst="rect">
            <a:avLst/>
          </a:prstGeom>
          <a:noFill/>
          <a:ln>
            <a:noFill/>
          </a:ln>
        </p:spPr>
        <p:txBody>
          <a:bodyPr wrap="square" lIns="0" tIns="0" rIns="0" bIns="0" rtlCol="0">
            <a:spAutoFit/>
          </a:bodyPr>
          <a:lstStyle/>
          <a:p>
            <a:pPr algn="r">
              <a:spcAft>
                <a:spcPts val="270"/>
              </a:spcAft>
            </a:pPr>
            <a:r>
              <a:rPr lang="en-US" sz="701" baseline="0" noProof="0" dirty="0" smtClean="0">
                <a:ln>
                  <a:noFill/>
                </a:ln>
                <a:solidFill>
                  <a:schemeClr val="bg1">
                    <a:lumMod val="65000"/>
                  </a:schemeClr>
                </a:solidFill>
              </a:rPr>
              <a:t>Grey markers</a:t>
            </a:r>
            <a:r>
              <a:rPr lang="en-US" sz="701" dirty="0" smtClean="0">
                <a:ln>
                  <a:noFill/>
                </a:ln>
                <a:solidFill>
                  <a:schemeClr val="bg1">
                    <a:lumMod val="65000"/>
                  </a:schemeClr>
                </a:solidFill>
              </a:rPr>
              <a:t> indicate position of Deloitte Drawing Guides</a:t>
            </a:r>
            <a:endParaRPr lang="en-US" sz="701" baseline="0" noProof="0" dirty="0" smtClean="0">
              <a:ln>
                <a:noFill/>
              </a:ln>
              <a:solidFill>
                <a:schemeClr val="bg1">
                  <a:lumMod val="65000"/>
                </a:schemeClr>
              </a:solidFill>
            </a:endParaRPr>
          </a:p>
        </p:txBody>
      </p:sp>
      <p:cxnSp>
        <p:nvCxnSpPr>
          <p:cNvPr id="17" name="Straight Arrow Connector 12"/>
          <p:cNvCxnSpPr/>
          <p:nvPr userDrawn="1"/>
        </p:nvCxnSpPr>
        <p:spPr>
          <a:xfrm>
            <a:off x="-381894" y="4462068"/>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8" name="Straight Arrow Connector 12"/>
          <p:cNvCxnSpPr/>
          <p:nvPr userDrawn="1"/>
        </p:nvCxnSpPr>
        <p:spPr>
          <a:xfrm>
            <a:off x="-392411"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9" name="Straight Arrow Connector 12"/>
          <p:cNvCxnSpPr/>
          <p:nvPr userDrawn="1"/>
        </p:nvCxnSpPr>
        <p:spPr>
          <a:xfrm>
            <a:off x="6015633"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0" name="Straight Arrow Connector 12"/>
          <p:cNvCxnSpPr/>
          <p:nvPr userDrawn="1"/>
        </p:nvCxnSpPr>
        <p:spPr>
          <a:xfrm>
            <a:off x="6015633" y="4463033"/>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1" name="Straight Arrow Connector 14"/>
          <p:cNvCxnSpPr/>
          <p:nvPr userDrawn="1"/>
        </p:nvCxnSpPr>
        <p:spPr>
          <a:xfrm>
            <a:off x="5738945"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2" name="Straight Arrow Connector 14"/>
          <p:cNvCxnSpPr/>
          <p:nvPr userDrawn="1"/>
        </p:nvCxnSpPr>
        <p:spPr>
          <a:xfrm>
            <a:off x="226418" y="-29095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3" name="Straight Arrow Connector 14"/>
          <p:cNvCxnSpPr/>
          <p:nvPr userDrawn="1"/>
        </p:nvCxnSpPr>
        <p:spPr>
          <a:xfrm>
            <a:off x="5738945" y="-320178"/>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24" name="Straight Arrow Connector 14"/>
          <p:cNvCxnSpPr/>
          <p:nvPr userDrawn="1"/>
        </p:nvCxnSpPr>
        <p:spPr>
          <a:xfrm>
            <a:off x="226418"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5807810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1488"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extLst>
              <p:ext uri="{D42A27DB-BD31-4B8C-83A1-F6EECF244321}">
                <p14:modId xmlns:p14="http://schemas.microsoft.com/office/powerpoint/2010/main" val="166891810"/>
              </p:ext>
            </p:extLst>
          </p:nvPr>
        </p:nvGraphicFramePr>
        <p:xfrm>
          <a:off x="1037" y="1100"/>
          <a:ext cx="1036" cy="1093"/>
        </p:xfrm>
        <a:graphic>
          <a:graphicData uri="http://schemas.openxmlformats.org/presentationml/2006/ole">
            <mc:AlternateContent xmlns:mc="http://schemas.openxmlformats.org/markup-compatibility/2006">
              <mc:Choice xmlns:v="urn:schemas-microsoft-com:vml" Requires="v">
                <p:oleObj spid="_x0000_s2587"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1037" y="1100"/>
                        <a:ext cx="1036" cy="1093"/>
                      </a:xfrm>
                      <a:prstGeom prst="rect">
                        <a:avLst/>
                      </a:prstGeom>
                    </p:spPr>
                  </p:pic>
                </p:oleObj>
              </mc:Fallback>
            </mc:AlternateContent>
          </a:graphicData>
        </a:graphic>
      </p:graphicFrame>
      <p:sp>
        <p:nvSpPr>
          <p:cNvPr id="2" name="Title Placeholder 1"/>
          <p:cNvSpPr>
            <a:spLocks noGrp="1"/>
          </p:cNvSpPr>
          <p:nvPr>
            <p:ph type="title"/>
          </p:nvPr>
        </p:nvSpPr>
        <p:spPr bwMode="gray">
          <a:xfrm>
            <a:off x="230055" y="277343"/>
            <a:ext cx="5508890" cy="476815"/>
          </a:xfrm>
          <a:prstGeom prst="rect">
            <a:avLst/>
          </a:prstGeom>
        </p:spPr>
        <p:txBody>
          <a:bodyPr vert="horz" lIns="0" tIns="0" rIns="0" bIns="0" rtlCol="0" anchor="t" anchorCtr="0">
            <a:noAutofit/>
          </a:bodyPr>
          <a:lstStyle/>
          <a:p>
            <a:r>
              <a:rPr lang="zh-TW" altLang="en-US" noProof="0" dirty="0" smtClean="0"/>
              <a:t>按一下以編輯母片標題樣式</a:t>
            </a:r>
            <a:endParaRPr lang="en-US" noProof="0" dirty="0"/>
          </a:p>
        </p:txBody>
      </p:sp>
      <p:sp>
        <p:nvSpPr>
          <p:cNvPr id="19" name="Text Placeholder 18"/>
          <p:cNvSpPr>
            <a:spLocks noGrp="1"/>
          </p:cNvSpPr>
          <p:nvPr>
            <p:ph type="body" idx="1"/>
          </p:nvPr>
        </p:nvSpPr>
        <p:spPr>
          <a:xfrm>
            <a:off x="230055" y="1147200"/>
            <a:ext cx="5508890" cy="3192250"/>
          </a:xfrm>
          <a:prstGeom prst="rect">
            <a:avLst/>
          </a:prstGeom>
        </p:spPr>
        <p:txBody>
          <a:bodyPr vert="horz" lIns="0" tIns="0" rIns="0" bIns="0" rtlCol="0">
            <a:noAutofit/>
          </a:bodyPr>
          <a:lstStyle/>
          <a:p>
            <a:pPr lvl="0"/>
            <a:r>
              <a:rPr lang="zh-TW" altLang="en-US" noProof="0" dirty="0" smtClean="0"/>
              <a:t>按一下以編輯母片文字樣式  </a:t>
            </a:r>
          </a:p>
          <a:p>
            <a:pPr lvl="1"/>
            <a:r>
              <a:rPr lang="zh-TW" altLang="en-US" noProof="0" dirty="0" smtClean="0"/>
              <a:t>第二層</a:t>
            </a:r>
          </a:p>
          <a:p>
            <a:pPr lvl="2"/>
            <a:r>
              <a:rPr lang="zh-TW" altLang="en-US" noProof="0" dirty="0" smtClean="0"/>
              <a:t>第三層</a:t>
            </a:r>
          </a:p>
          <a:p>
            <a:pPr lvl="3"/>
            <a:r>
              <a:rPr lang="zh-TW" altLang="en-US" noProof="0" dirty="0" smtClean="0"/>
              <a:t>第四層</a:t>
            </a:r>
            <a:endParaRPr lang="en-US" altLang="zh-TW" noProof="0" dirty="0" smtClean="0"/>
          </a:p>
          <a:p>
            <a:pPr lvl="3"/>
            <a:r>
              <a:rPr lang="zh-TW" altLang="en-US" noProof="0" dirty="0" smtClean="0"/>
              <a:t>第五層</a:t>
            </a:r>
            <a:endParaRPr lang="en-US" noProof="0" dirty="0"/>
          </a:p>
        </p:txBody>
      </p:sp>
      <p:sp>
        <p:nvSpPr>
          <p:cNvPr id="11" name="TextBox 10"/>
          <p:cNvSpPr txBox="1"/>
          <p:nvPr/>
        </p:nvSpPr>
        <p:spPr>
          <a:xfrm>
            <a:off x="230059" y="4461935"/>
            <a:ext cx="2621801" cy="100348"/>
          </a:xfrm>
          <a:prstGeom prst="rect">
            <a:avLst/>
          </a:prstGeom>
          <a:noFill/>
        </p:spPr>
        <p:txBody>
          <a:bodyPr wrap="square" lIns="0" tIns="0" rIns="0" bIns="0" rtlCol="0">
            <a:spAutoFit/>
          </a:bodyPr>
          <a:lstStyle/>
          <a:p>
            <a:pPr marL="0" indent="0">
              <a:spcBef>
                <a:spcPts val="601"/>
              </a:spcBef>
              <a:buSzPct val="100000"/>
              <a:buFont typeface="Arial"/>
              <a:buNone/>
            </a:pPr>
            <a:r>
              <a:rPr lang="zh-TW" altLang="en-US" sz="652" noProof="0" dirty="0" smtClean="0">
                <a:solidFill>
                  <a:schemeClr val="tx1"/>
                </a:solidFill>
                <a:latin typeface="微軟正黑體" panose="020B0604030504040204" pitchFamily="34" charset="-120"/>
                <a:ea typeface="微軟正黑體" panose="020B0604030504040204" pitchFamily="34" charset="-120"/>
              </a:rPr>
              <a:t>勤業眾信版權所有 保留一切權利</a:t>
            </a:r>
          </a:p>
        </p:txBody>
      </p:sp>
      <p:sp>
        <p:nvSpPr>
          <p:cNvPr id="12" name="TextBox 11"/>
          <p:cNvSpPr txBox="1"/>
          <p:nvPr/>
        </p:nvSpPr>
        <p:spPr>
          <a:xfrm>
            <a:off x="5586615" y="4461935"/>
            <a:ext cx="150779" cy="100348"/>
          </a:xfrm>
          <a:prstGeom prst="rect">
            <a:avLst/>
          </a:prstGeom>
          <a:noFill/>
        </p:spPr>
        <p:txBody>
          <a:bodyPr wrap="square" lIns="0" tIns="0" rIns="0" bIns="0" rtlCol="0">
            <a:spAutoFit/>
          </a:bodyPr>
          <a:lstStyle/>
          <a:p>
            <a:pPr marL="0" indent="0" algn="r">
              <a:spcBef>
                <a:spcPts val="801"/>
              </a:spcBef>
              <a:buSzPct val="100000"/>
              <a:buFont typeface="Arial"/>
              <a:buNone/>
            </a:pPr>
            <a:fld id="{C58DF478-B544-4ED8-9ED4-6A2648E2D233}" type="slidenum">
              <a:rPr lang="en-US" sz="652" noProof="0" smtClean="0">
                <a:solidFill>
                  <a:schemeClr val="tx1"/>
                </a:solidFill>
              </a:rPr>
              <a:pPr marL="0" indent="0" algn="r">
                <a:spcBef>
                  <a:spcPts val="801"/>
                </a:spcBef>
                <a:buSzPct val="100000"/>
                <a:buFont typeface="Arial"/>
                <a:buNone/>
              </a:pPr>
              <a:t>‹#›</a:t>
            </a:fld>
            <a:endParaRPr lang="en-US" sz="652" noProof="0" dirty="0">
              <a:solidFill>
                <a:schemeClr val="tx1"/>
              </a:solidFill>
            </a:endParaRPr>
          </a:p>
        </p:txBody>
      </p:sp>
      <p:sp>
        <p:nvSpPr>
          <p:cNvPr id="7" name="TextBox 21"/>
          <p:cNvSpPr txBox="1"/>
          <p:nvPr/>
        </p:nvSpPr>
        <p:spPr>
          <a:xfrm>
            <a:off x="-808919" y="4592996"/>
            <a:ext cx="747431" cy="431400"/>
          </a:xfrm>
          <a:prstGeom prst="rect">
            <a:avLst/>
          </a:prstGeom>
          <a:noFill/>
          <a:ln>
            <a:noFill/>
          </a:ln>
        </p:spPr>
        <p:txBody>
          <a:bodyPr wrap="square" lIns="0" tIns="0" rIns="0" bIns="0" rtlCol="0">
            <a:spAutoFit/>
          </a:bodyPr>
          <a:lstStyle/>
          <a:p>
            <a:pPr algn="r">
              <a:spcAft>
                <a:spcPts val="270"/>
              </a:spcAft>
            </a:pPr>
            <a:r>
              <a:rPr lang="en-US" sz="701" baseline="0" noProof="0" dirty="0" smtClean="0">
                <a:ln>
                  <a:noFill/>
                </a:ln>
                <a:solidFill>
                  <a:schemeClr val="bg1">
                    <a:lumMod val="65000"/>
                  </a:schemeClr>
                </a:solidFill>
              </a:rPr>
              <a:t>Grey markers</a:t>
            </a:r>
            <a:r>
              <a:rPr lang="en-US" sz="701" dirty="0" smtClean="0">
                <a:ln>
                  <a:noFill/>
                </a:ln>
                <a:solidFill>
                  <a:schemeClr val="bg1">
                    <a:lumMod val="65000"/>
                  </a:schemeClr>
                </a:solidFill>
              </a:rPr>
              <a:t> indicate position of Deloitte Drawing Guides</a:t>
            </a:r>
            <a:endParaRPr lang="en-US" sz="701" baseline="0" noProof="0" dirty="0" smtClean="0">
              <a:ln>
                <a:noFill/>
              </a:ln>
              <a:solidFill>
                <a:schemeClr val="bg1">
                  <a:lumMod val="65000"/>
                </a:schemeClr>
              </a:solidFill>
            </a:endParaRPr>
          </a:p>
        </p:txBody>
      </p:sp>
      <p:cxnSp>
        <p:nvCxnSpPr>
          <p:cNvPr id="8" name="Straight Arrow Connector 12"/>
          <p:cNvCxnSpPr/>
          <p:nvPr/>
        </p:nvCxnSpPr>
        <p:spPr>
          <a:xfrm>
            <a:off x="-381894" y="4462068"/>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9" name="Straight Arrow Connector 12"/>
          <p:cNvCxnSpPr/>
          <p:nvPr/>
        </p:nvCxnSpPr>
        <p:spPr>
          <a:xfrm>
            <a:off x="-392411"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0" name="Straight Arrow Connector 12"/>
          <p:cNvCxnSpPr/>
          <p:nvPr/>
        </p:nvCxnSpPr>
        <p:spPr>
          <a:xfrm>
            <a:off x="6015633" y="311084"/>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3" name="Straight Arrow Connector 12"/>
          <p:cNvCxnSpPr/>
          <p:nvPr/>
        </p:nvCxnSpPr>
        <p:spPr>
          <a:xfrm>
            <a:off x="6015633" y="4463033"/>
            <a:ext cx="320404" cy="965"/>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4" name="Straight Arrow Connector 14"/>
          <p:cNvCxnSpPr/>
          <p:nvPr/>
        </p:nvCxnSpPr>
        <p:spPr>
          <a:xfrm>
            <a:off x="5738945"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5" name="Straight Arrow Connector 14"/>
          <p:cNvCxnSpPr/>
          <p:nvPr/>
        </p:nvCxnSpPr>
        <p:spPr>
          <a:xfrm>
            <a:off x="226418" y="-29095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6" name="Straight Arrow Connector 14"/>
          <p:cNvCxnSpPr/>
          <p:nvPr/>
        </p:nvCxnSpPr>
        <p:spPr>
          <a:xfrm>
            <a:off x="5738945" y="-320178"/>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cxnSp>
        <p:nvCxnSpPr>
          <p:cNvPr id="17" name="Straight Arrow Connector 14"/>
          <p:cNvCxnSpPr/>
          <p:nvPr/>
        </p:nvCxnSpPr>
        <p:spPr>
          <a:xfrm>
            <a:off x="226418" y="4790017"/>
            <a:ext cx="0" cy="218779"/>
          </a:xfrm>
          <a:prstGeom prst="straightConnector1">
            <a:avLst/>
          </a:prstGeom>
          <a:ln>
            <a:solidFill>
              <a:schemeClr val="bg1">
                <a:lumMod val="85000"/>
              </a:schemeClr>
            </a:solidFill>
            <a:tailEnd type="none"/>
          </a:ln>
        </p:spPr>
        <p:style>
          <a:lnRef idx="1">
            <a:schemeClr val="dk1"/>
          </a:lnRef>
          <a:fillRef idx="0">
            <a:schemeClr val="dk1"/>
          </a:fillRef>
          <a:effectRef idx="0">
            <a:schemeClr val="dk1"/>
          </a:effectRef>
          <a:fontRef idx="minor">
            <a:schemeClr val="tx1"/>
          </a:fontRef>
        </p:style>
      </p:cxnSp>
    </p:spTree>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01" r:id="rId5"/>
    <p:sldLayoutId id="2147483702" r:id="rId6"/>
    <p:sldLayoutId id="2147483755" r:id="rId7"/>
    <p:sldLayoutId id="2147483756" r:id="rId8"/>
    <p:sldLayoutId id="2147483762" r:id="rId9"/>
    <p:sldLayoutId id="2147483703" r:id="rId10"/>
    <p:sldLayoutId id="2147483704" r:id="rId11"/>
    <p:sldLayoutId id="2147483705" r:id="rId12"/>
    <p:sldLayoutId id="2147483706" r:id="rId13"/>
    <p:sldLayoutId id="2147483679" r:id="rId14"/>
    <p:sldLayoutId id="2147483712" r:id="rId15"/>
    <p:sldLayoutId id="2147483678" r:id="rId16"/>
    <p:sldLayoutId id="2147483681" r:id="rId17"/>
    <p:sldLayoutId id="2147483699" r:id="rId18"/>
    <p:sldLayoutId id="2147483695" r:id="rId19"/>
    <p:sldLayoutId id="2147483724" r:id="rId20"/>
    <p:sldLayoutId id="2147483727" r:id="rId21"/>
    <p:sldLayoutId id="2147483698" r:id="rId22"/>
    <p:sldLayoutId id="2147483752" r:id="rId23"/>
    <p:sldLayoutId id="2147483696" r:id="rId24"/>
    <p:sldLayoutId id="2147483763" r:id="rId25"/>
    <p:sldLayoutId id="2147483761" r:id="rId26"/>
    <p:sldLayoutId id="2147483764" r:id="rId27"/>
  </p:sldLayoutIdLst>
  <p:transition>
    <p:fade/>
  </p:transition>
  <p:timing>
    <p:tnLst>
      <p:par>
        <p:cTn id="1" dur="indefinite" restart="never" nodeType="tmRoot"/>
      </p:par>
    </p:tnLst>
  </p:timing>
  <p:hf hdr="0" dt="0"/>
  <p:txStyles>
    <p:titleStyle>
      <a:lvl1pPr algn="l" defTabSz="1219179" rtl="0" eaLnBrk="1" latinLnBrk="0" hangingPunct="1">
        <a:spcBef>
          <a:spcPct val="0"/>
        </a:spcBef>
        <a:buNone/>
        <a:defRPr sz="2100" kern="1200">
          <a:solidFill>
            <a:schemeClr val="tx1"/>
          </a:solidFill>
          <a:latin typeface="+mj-lt"/>
          <a:ea typeface="微軟正黑體" panose="020B0604030504040204" pitchFamily="34" charset="-120"/>
          <a:cs typeface="+mj-cs"/>
        </a:defRPr>
      </a:lvl1pPr>
    </p:titleStyle>
    <p:bodyStyle>
      <a:lvl1pPr marL="0" indent="0" algn="l" defTabSz="1219179" rtl="0" eaLnBrk="1" latinLnBrk="0" hangingPunct="1">
        <a:spcBef>
          <a:spcPts val="0"/>
        </a:spcBef>
        <a:spcAft>
          <a:spcPts val="1334"/>
        </a:spcAft>
        <a:buSzPct val="100000"/>
        <a:buFont typeface="Arial" panose="020B0604020202020204" pitchFamily="34" charset="0"/>
        <a:buNone/>
        <a:defRPr sz="1299" b="0" kern="1200">
          <a:solidFill>
            <a:schemeClr val="tx1"/>
          </a:solidFill>
          <a:latin typeface="+mj-lt"/>
          <a:ea typeface="微軟正黑體" panose="020B0604030504040204" pitchFamily="34" charset="-120"/>
          <a:cs typeface="+mn-cs"/>
        </a:defRPr>
      </a:lvl1pPr>
      <a:lvl2pPr marL="0" indent="0" algn="l" defTabSz="1219179" rtl="0" eaLnBrk="1" latinLnBrk="0" hangingPunct="1">
        <a:spcBef>
          <a:spcPts val="0"/>
        </a:spcBef>
        <a:spcAft>
          <a:spcPts val="1334"/>
        </a:spcAft>
        <a:buClrTx/>
        <a:buSzPct val="100000"/>
        <a:buFont typeface="Arial"/>
        <a:buNone/>
        <a:defRPr lang="en-US" sz="1299" b="1" kern="1200" dirty="0" smtClean="0">
          <a:solidFill>
            <a:schemeClr val="tx1"/>
          </a:solidFill>
          <a:latin typeface="+mj-lt"/>
          <a:ea typeface="微軟正黑體" panose="020B0604030504040204" pitchFamily="34" charset="-120"/>
          <a:cs typeface="+mn-cs"/>
        </a:defRPr>
      </a:lvl2pPr>
      <a:lvl3pPr marL="235197" indent="-235197" algn="l" defTabSz="1219179" rtl="0" eaLnBrk="1" latinLnBrk="0" hangingPunct="1">
        <a:spcBef>
          <a:spcPts val="0"/>
        </a:spcBef>
        <a:spcAft>
          <a:spcPts val="1334"/>
        </a:spcAft>
        <a:buClrTx/>
        <a:buSzPct val="100000"/>
        <a:buFont typeface="Arial" panose="020B0604020202020204" pitchFamily="34" charset="0"/>
        <a:buChar char="•"/>
        <a:defRPr lang="en-US" sz="1299" kern="1200" dirty="0" smtClean="0">
          <a:solidFill>
            <a:schemeClr val="tx1"/>
          </a:solidFill>
          <a:latin typeface="微軟正黑體" panose="020B0604030504040204" pitchFamily="34" charset="-120"/>
          <a:ea typeface="微軟正黑體" panose="020B0604030504040204" pitchFamily="34" charset="-120"/>
          <a:cs typeface="+mn-cs"/>
        </a:defRPr>
      </a:lvl3pPr>
      <a:lvl4pPr marL="475190" indent="-235197" algn="l" defTabSz="1219179" rtl="0" eaLnBrk="1" latinLnBrk="0" hangingPunct="1">
        <a:spcBef>
          <a:spcPts val="0"/>
        </a:spcBef>
        <a:spcAft>
          <a:spcPts val="1334"/>
        </a:spcAft>
        <a:buClrTx/>
        <a:buSzPct val="100000"/>
        <a:buFont typeface="Verdana" panose="020B0604030504040204" pitchFamily="34" charset="0"/>
        <a:buChar char="−"/>
        <a:defRPr lang="en-US" sz="1299" kern="1200" baseline="0" dirty="0" smtClean="0">
          <a:solidFill>
            <a:schemeClr val="tx1"/>
          </a:solidFill>
          <a:latin typeface="微軟正黑體" panose="020B0604030504040204" pitchFamily="34" charset="-120"/>
          <a:ea typeface="微軟正黑體" panose="020B0604030504040204" pitchFamily="34" charset="-120"/>
          <a:cs typeface="+mn-cs"/>
        </a:defRPr>
      </a:lvl4pPr>
      <a:lvl5pPr marL="710388" indent="-235197" algn="l" defTabSz="1064664" rtl="0" eaLnBrk="1" latinLnBrk="0" hangingPunct="1">
        <a:spcBef>
          <a:spcPts val="0"/>
        </a:spcBef>
        <a:spcAft>
          <a:spcPts val="1334"/>
        </a:spcAft>
        <a:buClrTx/>
        <a:buSzPct val="100000"/>
        <a:buFont typeface="Verdana" panose="020B0604030504040204" pitchFamily="34" charset="0"/>
        <a:buChar char="−"/>
        <a:tabLst/>
        <a:defRPr lang="en-US" sz="1399" kern="1200" baseline="0" dirty="0" smtClean="0">
          <a:solidFill>
            <a:schemeClr val="tx1"/>
          </a:solidFill>
          <a:latin typeface="+mj-lt"/>
          <a:ea typeface="微軟正黑體" panose="020B0604030504040204" pitchFamily="34" charset="-120"/>
          <a:cs typeface="+mn-cs"/>
        </a:defRPr>
      </a:lvl5pPr>
      <a:lvl6pPr marL="710388" indent="-235197" algn="l" defTabSz="1219179" rtl="0" eaLnBrk="1" latinLnBrk="0" hangingPunct="1">
        <a:spcBef>
          <a:spcPts val="0"/>
        </a:spcBef>
        <a:spcAft>
          <a:spcPts val="1334"/>
        </a:spcAft>
        <a:buFont typeface="Verdana" panose="020B0604030504040204" pitchFamily="34" charset="0"/>
        <a:buChar char="−"/>
        <a:defRPr sz="1599" kern="1200" baseline="0">
          <a:solidFill>
            <a:schemeClr val="tx1"/>
          </a:solidFill>
          <a:latin typeface="+mn-lt"/>
          <a:ea typeface="+mn-ea"/>
          <a:cs typeface="+mn-cs"/>
        </a:defRPr>
      </a:lvl6pPr>
      <a:lvl7pPr marL="710388" indent="-235197" algn="l" defTabSz="1219179" rtl="0" eaLnBrk="1" latinLnBrk="0" hangingPunct="1">
        <a:spcBef>
          <a:spcPts val="0"/>
        </a:spcBef>
        <a:spcAft>
          <a:spcPts val="1334"/>
        </a:spcAft>
        <a:buFont typeface="Verdana" panose="020B0604030504040204" pitchFamily="34" charset="0"/>
        <a:buChar char="−"/>
        <a:defRPr sz="1599" kern="1200">
          <a:solidFill>
            <a:schemeClr val="tx1"/>
          </a:solidFill>
          <a:latin typeface="+mn-lt"/>
          <a:ea typeface="+mn-ea"/>
          <a:cs typeface="+mn-cs"/>
        </a:defRPr>
      </a:lvl7pPr>
      <a:lvl8pPr marL="710388" indent="-235197" algn="l" defTabSz="1219179" rtl="0" eaLnBrk="1" latinLnBrk="0" hangingPunct="1">
        <a:spcBef>
          <a:spcPts val="0"/>
        </a:spcBef>
        <a:spcAft>
          <a:spcPts val="1334"/>
        </a:spcAft>
        <a:buFont typeface="Verdana" panose="020B0604030504040204" pitchFamily="34" charset="0"/>
        <a:buChar char="−"/>
        <a:defRPr sz="1599" kern="1200" baseline="0">
          <a:solidFill>
            <a:schemeClr val="tx1"/>
          </a:solidFill>
          <a:latin typeface="+mn-lt"/>
          <a:ea typeface="+mn-ea"/>
          <a:cs typeface="+mn-cs"/>
        </a:defRPr>
      </a:lvl8pPr>
      <a:lvl9pPr marL="710388" indent="-235197" algn="l" defTabSz="1219179" rtl="0" eaLnBrk="1" latinLnBrk="0" hangingPunct="1">
        <a:spcBef>
          <a:spcPts val="0"/>
        </a:spcBef>
        <a:spcAft>
          <a:spcPts val="1334"/>
        </a:spcAft>
        <a:buFont typeface="Verdana" panose="020B0604030504040204" pitchFamily="34" charset="0"/>
        <a:buChar char="−"/>
        <a:defRPr sz="1599" kern="1200" baseline="0">
          <a:solidFill>
            <a:schemeClr val="tx1"/>
          </a:solidFill>
          <a:latin typeface="+mn-lt"/>
          <a:ea typeface="+mn-ea"/>
          <a:cs typeface="+mn-cs"/>
        </a:defRPr>
      </a:lvl9pPr>
    </p:bodyStyle>
    <p:otherStyle>
      <a:defPPr>
        <a:defRPr lang="en-US"/>
      </a:defPPr>
      <a:lvl1pPr marL="0" algn="l" defTabSz="1219179" rtl="0" eaLnBrk="1" latinLnBrk="0" hangingPunct="1">
        <a:defRPr sz="2400" kern="1200">
          <a:solidFill>
            <a:schemeClr val="tx1"/>
          </a:solidFill>
          <a:latin typeface="+mn-lt"/>
          <a:ea typeface="+mn-ea"/>
          <a:cs typeface="+mn-cs"/>
        </a:defRPr>
      </a:lvl1pPr>
      <a:lvl2pPr marL="609589" algn="l" defTabSz="1219179" rtl="0" eaLnBrk="1" latinLnBrk="0" hangingPunct="1">
        <a:defRPr sz="2400" kern="1200">
          <a:solidFill>
            <a:schemeClr val="tx1"/>
          </a:solidFill>
          <a:latin typeface="+mn-lt"/>
          <a:ea typeface="+mn-ea"/>
          <a:cs typeface="+mn-cs"/>
        </a:defRPr>
      </a:lvl2pPr>
      <a:lvl3pPr marL="1219179" algn="l" defTabSz="1219179" rtl="0" eaLnBrk="1" latinLnBrk="0" hangingPunct="1">
        <a:defRPr sz="2400" kern="1200">
          <a:solidFill>
            <a:schemeClr val="tx1"/>
          </a:solidFill>
          <a:latin typeface="+mn-lt"/>
          <a:ea typeface="+mn-ea"/>
          <a:cs typeface="+mn-cs"/>
        </a:defRPr>
      </a:lvl3pPr>
      <a:lvl4pPr marL="1828768" algn="l" defTabSz="1219179" rtl="0" eaLnBrk="1" latinLnBrk="0" hangingPunct="1">
        <a:defRPr sz="2400" kern="1200">
          <a:solidFill>
            <a:schemeClr val="tx1"/>
          </a:solidFill>
          <a:latin typeface="+mn-lt"/>
          <a:ea typeface="+mn-ea"/>
          <a:cs typeface="+mn-cs"/>
        </a:defRPr>
      </a:lvl4pPr>
      <a:lvl5pPr marL="2438358" algn="l" defTabSz="1219179" rtl="0" eaLnBrk="1" latinLnBrk="0" hangingPunct="1">
        <a:defRPr sz="2400" kern="1200">
          <a:solidFill>
            <a:schemeClr val="tx1"/>
          </a:solidFill>
          <a:latin typeface="+mn-lt"/>
          <a:ea typeface="+mn-ea"/>
          <a:cs typeface="+mn-cs"/>
        </a:defRPr>
      </a:lvl5pPr>
      <a:lvl6pPr marL="3047945" algn="l" defTabSz="1219179" rtl="0" eaLnBrk="1" latinLnBrk="0" hangingPunct="1">
        <a:defRPr sz="2400" kern="1200">
          <a:solidFill>
            <a:schemeClr val="tx1"/>
          </a:solidFill>
          <a:latin typeface="+mn-lt"/>
          <a:ea typeface="+mn-ea"/>
          <a:cs typeface="+mn-cs"/>
        </a:defRPr>
      </a:lvl6pPr>
      <a:lvl7pPr marL="3657535" algn="l" defTabSz="1219179" rtl="0" eaLnBrk="1" latinLnBrk="0" hangingPunct="1">
        <a:defRPr sz="2400" kern="1200">
          <a:solidFill>
            <a:schemeClr val="tx1"/>
          </a:solidFill>
          <a:latin typeface="+mn-lt"/>
          <a:ea typeface="+mn-ea"/>
          <a:cs typeface="+mn-cs"/>
        </a:defRPr>
      </a:lvl7pPr>
      <a:lvl8pPr marL="4267122" algn="l" defTabSz="1219179" rtl="0" eaLnBrk="1" latinLnBrk="0" hangingPunct="1">
        <a:defRPr sz="2400" kern="1200">
          <a:solidFill>
            <a:schemeClr val="tx1"/>
          </a:solidFill>
          <a:latin typeface="+mn-lt"/>
          <a:ea typeface="+mn-ea"/>
          <a:cs typeface="+mn-cs"/>
        </a:defRPr>
      </a:lvl8pPr>
      <a:lvl9pPr marL="4876714" algn="l" defTabSz="1219179"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496" userDrawn="1">
          <p15:clr>
            <a:srgbClr val="F26B43"/>
          </p15:clr>
        </p15:guide>
        <p15:guide id="2" orient="horz" pos="1488" userDrawn="1">
          <p15:clr>
            <a:srgbClr val="F26B43"/>
          </p15:clr>
        </p15:guide>
        <p15:guide id="3" orient="horz" pos="2734" userDrawn="1">
          <p15:clr>
            <a:srgbClr val="F26B43"/>
          </p15:clr>
        </p15:guide>
        <p15:guide id="4" pos="145" userDrawn="1">
          <p15:clr>
            <a:srgbClr val="F26B43"/>
          </p15:clr>
        </p15:guide>
        <p15:guide id="5" pos="3615" userDrawn="1">
          <p15:clr>
            <a:srgbClr val="F26B43"/>
          </p15:clr>
        </p15:guide>
        <p15:guide id="6" orient="horz" pos="738" userDrawn="1">
          <p15:clr>
            <a:srgbClr val="F26B43"/>
          </p15:clr>
        </p15:guide>
        <p15:guide id="7" orient="horz" pos="169" userDrawn="1">
          <p15:clr>
            <a:srgbClr val="F26B43"/>
          </p15:clr>
        </p15:guide>
        <p15:guide id="8" orient="horz" pos="2811" userDrawn="1">
          <p15:clr>
            <a:srgbClr val="F26B43"/>
          </p15:clr>
        </p15:guide>
        <p15:guide id="10" pos="2442" userDrawn="1">
          <p15:clr>
            <a:srgbClr val="F26B43"/>
          </p15:clr>
        </p15:guide>
        <p15:guide id="12" pos="677" userDrawn="1">
          <p15:clr>
            <a:srgbClr val="F26B43"/>
          </p15:clr>
        </p15:guide>
        <p15:guide id="13" pos="732" userDrawn="1">
          <p15:clr>
            <a:srgbClr val="F26B43"/>
          </p15:clr>
        </p15:guide>
        <p15:guide id="14" pos="1264" userDrawn="1">
          <p15:clr>
            <a:srgbClr val="F26B43"/>
          </p15:clr>
        </p15:guide>
        <p15:guide id="15" pos="1319" userDrawn="1">
          <p15:clr>
            <a:srgbClr val="F26B43"/>
          </p15:clr>
        </p15:guide>
        <p15:guide id="16" pos="3028" userDrawn="1">
          <p15:clr>
            <a:srgbClr val="F26B43"/>
          </p15:clr>
        </p15:guide>
        <p15:guide id="17" pos="1852" userDrawn="1">
          <p15:clr>
            <a:srgbClr val="F26B43"/>
          </p15:clr>
        </p15:guide>
        <p15:guide id="18" pos="1907" userDrawn="1">
          <p15:clr>
            <a:srgbClr val="F26B43"/>
          </p15:clr>
        </p15:guide>
        <p15:guide id="19" pos="1880" userDrawn="1">
          <p15:clr>
            <a:srgbClr val="F26B43"/>
          </p15:clr>
        </p15:guide>
        <p15:guide id="20" pos="3084" userDrawn="1">
          <p15:clr>
            <a:srgbClr val="F26B43"/>
          </p15:clr>
        </p15:guide>
        <p15:guide id="21" orient="horz" pos="723" userDrawn="1">
          <p15:clr>
            <a:srgbClr val="F26B43"/>
          </p15:clr>
        </p15:guide>
        <p15:guide id="22" orient="horz" pos="442" userDrawn="1">
          <p15:clr>
            <a:srgbClr val="F26B43"/>
          </p15:clr>
        </p15:guide>
        <p15:guide id="23" orient="horz" pos="19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p:cNvSpPr/>
          <p:nvPr/>
        </p:nvSpPr>
        <p:spPr bwMode="gray">
          <a:xfrm>
            <a:off x="201447" y="1920779"/>
            <a:ext cx="2457548" cy="565036"/>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zh-TW" altLang="en-US" sz="1600" b="1" dirty="0" smtClean="0">
              <a:solidFill>
                <a:schemeClr val="bg1"/>
              </a:solidFill>
            </a:endParaRPr>
          </a:p>
        </p:txBody>
      </p:sp>
      <p:sp>
        <p:nvSpPr>
          <p:cNvPr id="6" name="Subtitle 3"/>
          <p:cNvSpPr>
            <a:spLocks noGrp="1"/>
          </p:cNvSpPr>
          <p:nvPr>
            <p:ph type="subTitle" idx="1"/>
          </p:nvPr>
        </p:nvSpPr>
        <p:spPr>
          <a:xfrm>
            <a:off x="470012" y="1807858"/>
            <a:ext cx="2188982" cy="1021614"/>
          </a:xfrm>
        </p:spPr>
        <p:txBody>
          <a:bodyPr/>
          <a:lstStyle/>
          <a:p>
            <a:endParaRPr lang="en-US" altLang="zh-TW" sz="1400" b="1" dirty="0" smtClean="0"/>
          </a:p>
          <a:p>
            <a:pPr marL="288000"/>
            <a:r>
              <a:rPr lang="zh-TW" altLang="en-US" sz="1200" b="1" kern="100" dirty="0" smtClean="0">
                <a:solidFill>
                  <a:schemeClr val="bg1"/>
                </a:solidFill>
                <a:ea typeface="微軟正黑體" panose="020B0604030504040204" pitchFamily="34" charset="-120"/>
              </a:rPr>
              <a:t>電腦審計</a:t>
            </a:r>
            <a:endParaRPr lang="en-US" altLang="zh-TW" sz="1200" b="1" kern="100" dirty="0" smtClean="0">
              <a:solidFill>
                <a:schemeClr val="bg1"/>
              </a:solidFill>
              <a:ea typeface="微軟正黑體" panose="020B0604030504040204" pitchFamily="34" charset="-120"/>
            </a:endParaRPr>
          </a:p>
          <a:p>
            <a:pPr marL="288000">
              <a:spcAft>
                <a:spcPts val="1200"/>
              </a:spcAft>
            </a:pPr>
            <a:r>
              <a:rPr lang="en-US" altLang="zh-TW" sz="900" kern="100" dirty="0" smtClean="0">
                <a:solidFill>
                  <a:schemeClr val="bg1"/>
                </a:solidFill>
                <a:ea typeface="新細明體" panose="02020500000000000000" pitchFamily="18" charset="-120"/>
                <a:cs typeface="Times New Roman" panose="02020603050405020304" pitchFamily="18" charset="0"/>
              </a:rPr>
              <a:t>Computer Audit</a:t>
            </a:r>
            <a:endParaRPr lang="zh-TW" altLang="zh-TW" sz="900" kern="100" dirty="0" smtClean="0">
              <a:solidFill>
                <a:schemeClr val="bg1"/>
              </a:solidFill>
              <a:ea typeface="新細明體" panose="02020500000000000000" pitchFamily="18" charset="-120"/>
              <a:cs typeface="Times New Roman" panose="02020603050405020304" pitchFamily="18" charset="0"/>
            </a:endParaRPr>
          </a:p>
          <a:p>
            <a:endParaRPr lang="en-US" altLang="zh-TW" sz="1000" kern="100" dirty="0" smtClean="0">
              <a:solidFill>
                <a:schemeClr val="bg1"/>
              </a:solidFill>
              <a:ea typeface="微軟正黑體" panose="020B0604030504040204" pitchFamily="34" charset="-120"/>
              <a:cs typeface="Times New Roman" panose="02020603050405020304" pitchFamily="18" charset="0"/>
            </a:endParaRPr>
          </a:p>
          <a:p>
            <a:endParaRPr lang="en-US" altLang="zh-TW" sz="1000" kern="100" dirty="0">
              <a:solidFill>
                <a:schemeClr val="bg1"/>
              </a:solidFill>
              <a:ea typeface="微軟正黑體" panose="020B0604030504040204" pitchFamily="34" charset="-120"/>
              <a:cs typeface="Times New Roman" panose="02020603050405020304" pitchFamily="18" charset="0"/>
            </a:endParaRPr>
          </a:p>
        </p:txBody>
      </p:sp>
      <p:sp>
        <p:nvSpPr>
          <p:cNvPr id="7" name="Text Placeholder 4"/>
          <p:cNvSpPr>
            <a:spLocks noGrp="1"/>
          </p:cNvSpPr>
          <p:nvPr>
            <p:ph type="body" sz="quarter" idx="10"/>
          </p:nvPr>
        </p:nvSpPr>
        <p:spPr>
          <a:xfrm>
            <a:off x="-2636175" y="5295906"/>
            <a:ext cx="5594349" cy="298452"/>
          </a:xfrm>
        </p:spPr>
        <p:txBody>
          <a:bodyPr/>
          <a:lstStyle/>
          <a:p>
            <a:r>
              <a:rPr lang="zh-TW" altLang="en-US" dirty="0"/>
              <a:t>發表人</a:t>
            </a:r>
            <a:r>
              <a:rPr lang="en-US" altLang="zh-TW" dirty="0"/>
              <a:t>/</a:t>
            </a:r>
            <a:r>
              <a:rPr lang="zh-TW" altLang="en-US" dirty="0"/>
              <a:t>單位、發表日期</a:t>
            </a:r>
            <a:endParaRPr lang="en-GB" altLang="zh-TW" dirty="0"/>
          </a:p>
        </p:txBody>
      </p:sp>
      <p:pic>
        <p:nvPicPr>
          <p:cNvPr id="3" name="圖片版面配置區 2"/>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15215" r="15215"/>
          <a:stretch>
            <a:fillRect/>
          </a:stretch>
        </p:blipFill>
        <p:spPr>
          <a:xfrm>
            <a:off x="2958174" y="423887"/>
            <a:ext cx="2925058" cy="4115827"/>
          </a:xfrm>
        </p:spPr>
      </p:pic>
      <p:sp>
        <p:nvSpPr>
          <p:cNvPr id="9" name="矩形 8"/>
          <p:cNvSpPr/>
          <p:nvPr/>
        </p:nvSpPr>
        <p:spPr>
          <a:xfrm>
            <a:off x="89941" y="1582649"/>
            <a:ext cx="3305331" cy="276999"/>
          </a:xfrm>
          <a:prstGeom prst="rect">
            <a:avLst/>
          </a:prstGeom>
        </p:spPr>
        <p:txBody>
          <a:bodyPr wrap="square">
            <a:spAutoFit/>
          </a:bodyPr>
          <a:lstStyle/>
          <a:p>
            <a:pPr lvl="0" defTabSz="1219170">
              <a:spcBef>
                <a:spcPts val="600"/>
              </a:spcBef>
              <a:buSzPct val="100000"/>
            </a:pPr>
            <a:r>
              <a:rPr lang="en-US" altLang="zh-TW" sz="1200" b="1" dirty="0">
                <a:solidFill>
                  <a:schemeClr val="bg1"/>
                </a:solidFill>
                <a:latin typeface="Bradley Hand ITC" panose="03070402050302030203" pitchFamily="66" charset="0"/>
              </a:rPr>
              <a:t>Make your impact that matters.</a:t>
            </a:r>
            <a:endParaRPr lang="zh-TW" altLang="en-US" sz="1200" b="1" dirty="0">
              <a:solidFill>
                <a:schemeClr val="bg1"/>
              </a:solidFill>
              <a:latin typeface="Bradley Hand ITC" panose="03070402050302030203" pitchFamily="66" charset="0"/>
            </a:endParaRPr>
          </a:p>
        </p:txBody>
      </p:sp>
      <p:sp>
        <p:nvSpPr>
          <p:cNvPr id="11" name="矩形 10"/>
          <p:cNvSpPr/>
          <p:nvPr/>
        </p:nvSpPr>
        <p:spPr>
          <a:xfrm>
            <a:off x="89941" y="950281"/>
            <a:ext cx="2868233" cy="646331"/>
          </a:xfrm>
          <a:prstGeom prst="rect">
            <a:avLst/>
          </a:prstGeom>
        </p:spPr>
        <p:txBody>
          <a:bodyPr wrap="square">
            <a:spAutoFit/>
          </a:bodyPr>
          <a:lstStyle/>
          <a:p>
            <a:pPr lvl="0" defTabSz="1219179">
              <a:buSzPct val="100000"/>
            </a:pPr>
            <a:r>
              <a:rPr lang="zh-TW" altLang="en-US" sz="1800" b="1" dirty="0">
                <a:solidFill>
                  <a:srgbClr val="86BC25"/>
                </a:solidFill>
                <a:latin typeface="Calibri" panose="020F0502020204030204" pitchFamily="34" charset="0"/>
                <a:cs typeface="Calibri" panose="020F0502020204030204" pitchFamily="34" charset="0"/>
              </a:rPr>
              <a:t>風險諮詢 </a:t>
            </a:r>
            <a:r>
              <a:rPr lang="en-US" altLang="zh-TW" sz="1800" dirty="0">
                <a:solidFill>
                  <a:srgbClr val="86BC25"/>
                </a:solidFill>
                <a:latin typeface="+mj-lt"/>
                <a:cs typeface="Calibri" panose="020F0502020204030204" pitchFamily="34" charset="0"/>
              </a:rPr>
              <a:t>Risk</a:t>
            </a:r>
            <a:r>
              <a:rPr lang="zh-TW" altLang="en-US" sz="1800" dirty="0">
                <a:solidFill>
                  <a:srgbClr val="86BC25"/>
                </a:solidFill>
                <a:latin typeface="+mj-lt"/>
                <a:cs typeface="Calibri" panose="020F0502020204030204" pitchFamily="34" charset="0"/>
              </a:rPr>
              <a:t> </a:t>
            </a:r>
            <a:r>
              <a:rPr lang="en-US" altLang="zh-TW" sz="1800" dirty="0">
                <a:solidFill>
                  <a:srgbClr val="86BC25"/>
                </a:solidFill>
                <a:latin typeface="+mj-lt"/>
                <a:cs typeface="Calibri" panose="020F0502020204030204" pitchFamily="34" charset="0"/>
              </a:rPr>
              <a:t>Advisory</a:t>
            </a:r>
          </a:p>
          <a:p>
            <a:pPr lvl="0" defTabSz="1219179">
              <a:buSzPct val="100000"/>
            </a:pPr>
            <a:r>
              <a:rPr lang="en-US" altLang="zh-TW" sz="1800" dirty="0">
                <a:solidFill>
                  <a:srgbClr val="86BC25"/>
                </a:solidFill>
                <a:latin typeface="+mj-lt"/>
                <a:cs typeface="Calibri" panose="020F0502020204030204" pitchFamily="34" charset="0"/>
              </a:rPr>
              <a:t>2021 </a:t>
            </a:r>
            <a:r>
              <a:rPr lang="zh-TW" altLang="en-US" sz="1800" dirty="0" smtClean="0">
                <a:solidFill>
                  <a:srgbClr val="86BC25"/>
                </a:solidFill>
                <a:latin typeface="+mj-lt"/>
                <a:cs typeface="Calibri" panose="020F0502020204030204" pitchFamily="34" charset="0"/>
              </a:rPr>
              <a:t>電腦審計</a:t>
            </a:r>
            <a:r>
              <a:rPr lang="en-US" altLang="zh-TW" sz="1800" b="1" dirty="0" smtClean="0">
                <a:solidFill>
                  <a:srgbClr val="86BC25"/>
                </a:solidFill>
                <a:latin typeface="Calibri" panose="020F0502020204030204" pitchFamily="34" charset="0"/>
                <a:cs typeface="Calibri" panose="020F0502020204030204" pitchFamily="34" charset="0"/>
              </a:rPr>
              <a:t>-</a:t>
            </a:r>
            <a:r>
              <a:rPr lang="zh-TW" altLang="en-US" sz="1800" b="1" dirty="0">
                <a:solidFill>
                  <a:srgbClr val="86BC25"/>
                </a:solidFill>
                <a:latin typeface="Calibri" panose="020F0502020204030204" pitchFamily="34" charset="0"/>
                <a:cs typeface="Calibri" panose="020F0502020204030204" pitchFamily="34" charset="0"/>
              </a:rPr>
              <a:t>實習生計畫</a:t>
            </a:r>
          </a:p>
        </p:txBody>
      </p:sp>
      <p:sp>
        <p:nvSpPr>
          <p:cNvPr id="13" name="矩形 12"/>
          <p:cNvSpPr/>
          <p:nvPr/>
        </p:nvSpPr>
        <p:spPr>
          <a:xfrm>
            <a:off x="99858" y="2330821"/>
            <a:ext cx="2870514" cy="2539157"/>
          </a:xfrm>
          <a:prstGeom prst="rect">
            <a:avLst/>
          </a:prstGeom>
        </p:spPr>
        <p:txBody>
          <a:bodyPr wrap="square">
            <a:spAutoFit/>
          </a:bodyPr>
          <a:lstStyle/>
          <a:p>
            <a:pPr lvl="0" algn="r" defTabSz="1219179">
              <a:buSzPct val="100000"/>
            </a:pPr>
            <a:endParaRPr lang="en-US" altLang="zh-TW" sz="700" b="1" kern="100" dirty="0" smtClean="0">
              <a:solidFill>
                <a:schemeClr val="bg1"/>
              </a:solidFill>
              <a:latin typeface="Calibri" panose="020F0502020204030204" pitchFamily="34" charset="0"/>
              <a:ea typeface="微軟正黑體" panose="020B0604030504040204" pitchFamily="34" charset="-120"/>
              <a:cs typeface="Times New Roman" panose="02020603050405020304" pitchFamily="18" charset="0"/>
            </a:endParaRPr>
          </a:p>
          <a:p>
            <a:pPr>
              <a:lnSpc>
                <a:spcPct val="150000"/>
              </a:lnSpc>
            </a:pPr>
            <a:r>
              <a:rPr lang="en-US" altLang="zh-TW" sz="800" dirty="0">
                <a:solidFill>
                  <a:schemeClr val="bg1"/>
                </a:solidFill>
                <a:latin typeface="Verdana" panose="020B0604030504040204" pitchFamily="34" charset="0"/>
                <a:ea typeface="Verdana" panose="020B0604030504040204" pitchFamily="34" charset="0"/>
              </a:rPr>
              <a:t>◆</a:t>
            </a:r>
            <a:r>
              <a:rPr lang="zh-TW" altLang="en-US" sz="800" b="1" dirty="0">
                <a:solidFill>
                  <a:srgbClr val="86BC25"/>
                </a:solidFill>
                <a:latin typeface="Verdana" panose="020B0604030504040204" pitchFamily="34" charset="0"/>
                <a:ea typeface="微軟正黑體" panose="020B0604030504040204" pitchFamily="34" charset="-120"/>
              </a:rPr>
              <a:t>實習對象：</a:t>
            </a:r>
            <a:endParaRPr lang="en-US" altLang="zh-TW" sz="800" b="1" dirty="0">
              <a:solidFill>
                <a:srgbClr val="86BC25"/>
              </a:solidFill>
              <a:latin typeface="Verdana" panose="020B0604030504040204" pitchFamily="34" charset="0"/>
              <a:ea typeface="微軟正黑體" panose="020B0604030504040204" pitchFamily="34" charset="-120"/>
            </a:endParaRPr>
          </a:p>
          <a:p>
            <a:pPr>
              <a:lnSpc>
                <a:spcPct val="150000"/>
              </a:lnSpc>
            </a:pPr>
            <a:r>
              <a:rPr lang="zh-TW" altLang="en-US" sz="800" dirty="0" smtClean="0">
                <a:solidFill>
                  <a:schemeClr val="bg1"/>
                </a:solidFill>
                <a:latin typeface="Verdana" panose="020B0604030504040204" pitchFamily="34" charset="0"/>
                <a:ea typeface="微軟正黑體" panose="020B0604030504040204" pitchFamily="34" charset="-120"/>
              </a:rPr>
              <a:t>資訊</a:t>
            </a:r>
            <a:r>
              <a:rPr lang="zh-TW" altLang="en-US" sz="800" dirty="0">
                <a:solidFill>
                  <a:schemeClr val="bg1"/>
                </a:solidFill>
                <a:latin typeface="Verdana" panose="020B0604030504040204" pitchFamily="34" charset="0"/>
                <a:ea typeface="微軟正黑體" panose="020B0604030504040204" pitchFamily="34" charset="-120"/>
              </a:rPr>
              <a:t>系</a:t>
            </a:r>
            <a:r>
              <a:rPr lang="zh-TW" altLang="en-US" sz="800" dirty="0" smtClean="0">
                <a:solidFill>
                  <a:schemeClr val="bg1"/>
                </a:solidFill>
                <a:latin typeface="Verdana" panose="020B0604030504040204" pitchFamily="34" charset="0"/>
                <a:ea typeface="微軟正黑體" panose="020B0604030504040204" pitchFamily="34" charset="-120"/>
              </a:rPr>
              <a:t>所</a:t>
            </a:r>
            <a:r>
              <a:rPr lang="zh-TW" altLang="en-US" sz="800" dirty="0">
                <a:solidFill>
                  <a:schemeClr val="bg1"/>
                </a:solidFill>
                <a:latin typeface="Verdana" panose="020B0604030504040204" pitchFamily="34" charset="0"/>
                <a:ea typeface="微軟正黑體" panose="020B0604030504040204" pitchFamily="34" charset="-120"/>
              </a:rPr>
              <a:t>或</a:t>
            </a:r>
            <a:r>
              <a:rPr lang="zh-TW" altLang="en-US" sz="800" dirty="0" smtClean="0">
                <a:solidFill>
                  <a:schemeClr val="bg1"/>
                </a:solidFill>
                <a:latin typeface="Verdana" panose="020B0604030504040204" pitchFamily="34" charset="0"/>
                <a:ea typeface="微軟正黑體" panose="020B0604030504040204" pitchFamily="34" charset="-120"/>
              </a:rPr>
              <a:t>會計系所同學</a:t>
            </a:r>
            <a:endParaRPr lang="en-US" altLang="zh-TW" sz="800" dirty="0" smtClean="0">
              <a:solidFill>
                <a:schemeClr val="bg1"/>
              </a:solidFill>
              <a:latin typeface="Verdana" panose="020B0604030504040204" pitchFamily="34" charset="0"/>
              <a:ea typeface="微軟正黑體" panose="020B0604030504040204" pitchFamily="34" charset="-120"/>
            </a:endParaRPr>
          </a:p>
          <a:p>
            <a:pPr>
              <a:lnSpc>
                <a:spcPct val="150000"/>
              </a:lnSpc>
            </a:pPr>
            <a:r>
              <a:rPr lang="en-US" altLang="zh-TW" sz="800" dirty="0" smtClean="0">
                <a:solidFill>
                  <a:schemeClr val="bg1"/>
                </a:solidFill>
                <a:latin typeface="Verdana" panose="020B0604030504040204" pitchFamily="34" charset="0"/>
                <a:ea typeface="Verdana" panose="020B0604030504040204" pitchFamily="34" charset="0"/>
              </a:rPr>
              <a:t>◆</a:t>
            </a:r>
            <a:r>
              <a:rPr lang="zh-TW" altLang="en-US" sz="800" b="1" dirty="0">
                <a:solidFill>
                  <a:srgbClr val="86BC25"/>
                </a:solidFill>
                <a:latin typeface="Verdana" panose="020B0604030504040204" pitchFamily="34" charset="0"/>
                <a:ea typeface="微軟正黑體" panose="020B0604030504040204" pitchFamily="34" charset="-120"/>
              </a:rPr>
              <a:t>實習期間：</a:t>
            </a:r>
            <a:endParaRPr lang="en-US" altLang="zh-TW" sz="800" b="1" dirty="0">
              <a:solidFill>
                <a:srgbClr val="86BC25"/>
              </a:solidFill>
              <a:latin typeface="Verdana" panose="020B0604030504040204" pitchFamily="34" charset="0"/>
              <a:ea typeface="微軟正黑體" panose="020B0604030504040204" pitchFamily="34" charset="-120"/>
            </a:endParaRPr>
          </a:p>
          <a:p>
            <a:pPr>
              <a:lnSpc>
                <a:spcPct val="150000"/>
              </a:lnSpc>
            </a:pPr>
            <a:r>
              <a:rPr lang="en-US" altLang="zh-TW" sz="800" dirty="0">
                <a:solidFill>
                  <a:schemeClr val="bg1"/>
                </a:solidFill>
                <a:latin typeface="Verdana" panose="020B0604030504040204" pitchFamily="34" charset="0"/>
                <a:ea typeface="Verdana" panose="020B0604030504040204" pitchFamily="34" charset="0"/>
              </a:rPr>
              <a:t>2021</a:t>
            </a:r>
            <a:r>
              <a:rPr lang="zh-TW" altLang="en-US" sz="800" dirty="0">
                <a:solidFill>
                  <a:schemeClr val="bg1"/>
                </a:solidFill>
                <a:latin typeface="Verdana" panose="020B0604030504040204" pitchFamily="34" charset="0"/>
                <a:ea typeface="微軟正黑體" panose="020B0604030504040204" pitchFamily="34" charset="-120"/>
              </a:rPr>
              <a:t>年</a:t>
            </a:r>
            <a:r>
              <a:rPr lang="en-US" altLang="zh-TW" sz="800" dirty="0">
                <a:solidFill>
                  <a:schemeClr val="bg1"/>
                </a:solidFill>
                <a:latin typeface="Verdana" panose="020B0604030504040204" pitchFamily="34" charset="0"/>
                <a:ea typeface="Verdana" panose="020B0604030504040204" pitchFamily="34" charset="0"/>
              </a:rPr>
              <a:t>7</a:t>
            </a:r>
            <a:r>
              <a:rPr lang="zh-TW" altLang="en-US" sz="800" dirty="0">
                <a:solidFill>
                  <a:schemeClr val="bg1"/>
                </a:solidFill>
                <a:latin typeface="Verdana" panose="020B0604030504040204" pitchFamily="34" charset="0"/>
                <a:ea typeface="微軟正黑體" panose="020B0604030504040204" pitchFamily="34" charset="-120"/>
              </a:rPr>
              <a:t>月</a:t>
            </a:r>
            <a:r>
              <a:rPr lang="en-US" altLang="zh-TW" sz="800" dirty="0">
                <a:solidFill>
                  <a:schemeClr val="bg1"/>
                </a:solidFill>
                <a:latin typeface="Verdana" panose="020B0604030504040204" pitchFamily="34" charset="0"/>
                <a:ea typeface="Verdana" panose="020B0604030504040204" pitchFamily="34" charset="0"/>
              </a:rPr>
              <a:t>1</a:t>
            </a:r>
            <a:r>
              <a:rPr lang="zh-TW" altLang="en-US" sz="800" dirty="0">
                <a:solidFill>
                  <a:schemeClr val="bg1"/>
                </a:solidFill>
                <a:latin typeface="Verdana" panose="020B0604030504040204" pitchFamily="34" charset="0"/>
                <a:ea typeface="微軟正黑體" panose="020B0604030504040204" pitchFamily="34" charset="-120"/>
              </a:rPr>
              <a:t>日</a:t>
            </a:r>
            <a:r>
              <a:rPr lang="en-US" altLang="zh-TW" sz="800" dirty="0">
                <a:solidFill>
                  <a:schemeClr val="bg1"/>
                </a:solidFill>
                <a:latin typeface="Verdana" panose="020B0604030504040204" pitchFamily="34" charset="0"/>
                <a:ea typeface="Verdana" panose="020B0604030504040204" pitchFamily="34" charset="0"/>
              </a:rPr>
              <a:t>- 2022</a:t>
            </a:r>
            <a:r>
              <a:rPr lang="zh-TW" altLang="en-US" sz="800" dirty="0">
                <a:solidFill>
                  <a:schemeClr val="bg1"/>
                </a:solidFill>
                <a:latin typeface="Verdana" panose="020B0604030504040204" pitchFamily="34" charset="0"/>
                <a:ea typeface="微軟正黑體" panose="020B0604030504040204" pitchFamily="34" charset="-120"/>
              </a:rPr>
              <a:t>年</a:t>
            </a:r>
            <a:r>
              <a:rPr lang="en-US" altLang="zh-TW" sz="800" dirty="0">
                <a:solidFill>
                  <a:schemeClr val="bg1"/>
                </a:solidFill>
                <a:latin typeface="Verdana" panose="020B0604030504040204" pitchFamily="34" charset="0"/>
                <a:ea typeface="Verdana" panose="020B0604030504040204" pitchFamily="34" charset="0"/>
              </a:rPr>
              <a:t>1</a:t>
            </a:r>
            <a:r>
              <a:rPr lang="zh-TW" altLang="en-US" sz="800" dirty="0">
                <a:solidFill>
                  <a:schemeClr val="bg1"/>
                </a:solidFill>
                <a:latin typeface="Verdana" panose="020B0604030504040204" pitchFamily="34" charset="0"/>
                <a:ea typeface="微軟正黑體" panose="020B0604030504040204" pitchFamily="34" charset="-120"/>
              </a:rPr>
              <a:t>月</a:t>
            </a:r>
            <a:r>
              <a:rPr lang="en-US" altLang="zh-TW" sz="800" dirty="0">
                <a:solidFill>
                  <a:schemeClr val="bg1"/>
                </a:solidFill>
                <a:latin typeface="Verdana" panose="020B0604030504040204" pitchFamily="34" charset="0"/>
                <a:ea typeface="Verdana" panose="020B0604030504040204" pitchFamily="34" charset="0"/>
              </a:rPr>
              <a:t>31</a:t>
            </a:r>
            <a:r>
              <a:rPr lang="zh-TW" altLang="en-US" sz="800" dirty="0">
                <a:solidFill>
                  <a:schemeClr val="bg1"/>
                </a:solidFill>
                <a:latin typeface="Verdana" panose="020B0604030504040204" pitchFamily="34" charset="0"/>
                <a:ea typeface="微軟正黑體" panose="020B0604030504040204" pitchFamily="34" charset="-120"/>
              </a:rPr>
              <a:t>日 </a:t>
            </a:r>
            <a:r>
              <a:rPr lang="en-US" altLang="zh-TW" sz="800" dirty="0" smtClean="0">
                <a:solidFill>
                  <a:schemeClr val="bg1"/>
                </a:solidFill>
                <a:latin typeface="Verdana" panose="020B0604030504040204" pitchFamily="34" charset="0"/>
                <a:ea typeface="微軟正黑體" panose="020B0604030504040204" pitchFamily="34" charset="-120"/>
              </a:rPr>
              <a:t>or</a:t>
            </a:r>
            <a:r>
              <a:rPr lang="zh-TW" altLang="en-US" sz="800" dirty="0" smtClean="0">
                <a:solidFill>
                  <a:schemeClr val="bg1"/>
                </a:solidFill>
                <a:latin typeface="Verdana" panose="020B0604030504040204" pitchFamily="34" charset="0"/>
                <a:ea typeface="微軟正黑體" panose="020B0604030504040204" pitchFamily="34" charset="-120"/>
              </a:rPr>
              <a:t> 到</a:t>
            </a:r>
            <a:r>
              <a:rPr lang="en-US" altLang="zh-TW" sz="800" dirty="0" smtClean="0">
                <a:solidFill>
                  <a:schemeClr val="bg1"/>
                </a:solidFill>
                <a:latin typeface="Verdana" panose="020B0604030504040204" pitchFamily="34" charset="0"/>
                <a:ea typeface="Verdana" panose="020B0604030504040204" pitchFamily="34" charset="0"/>
              </a:rPr>
              <a:t>2022</a:t>
            </a:r>
            <a:r>
              <a:rPr lang="zh-TW" altLang="en-US" sz="800" dirty="0" smtClean="0">
                <a:solidFill>
                  <a:schemeClr val="bg1"/>
                </a:solidFill>
                <a:latin typeface="Verdana" panose="020B0604030504040204" pitchFamily="34" charset="0"/>
                <a:ea typeface="微軟正黑體" panose="020B0604030504040204" pitchFamily="34" charset="-120"/>
              </a:rPr>
              <a:t>年</a:t>
            </a:r>
            <a:r>
              <a:rPr lang="en-US" altLang="zh-TW" sz="800" dirty="0" smtClean="0">
                <a:solidFill>
                  <a:schemeClr val="bg1"/>
                </a:solidFill>
                <a:latin typeface="Verdana" panose="020B0604030504040204" pitchFamily="34" charset="0"/>
                <a:ea typeface="Verdana" panose="020B0604030504040204" pitchFamily="34" charset="0"/>
              </a:rPr>
              <a:t>5</a:t>
            </a:r>
            <a:r>
              <a:rPr lang="zh-TW" altLang="en-US" sz="800" dirty="0" smtClean="0">
                <a:solidFill>
                  <a:schemeClr val="bg1"/>
                </a:solidFill>
                <a:latin typeface="Verdana" panose="020B0604030504040204" pitchFamily="34" charset="0"/>
                <a:ea typeface="微軟正黑體" panose="020B0604030504040204" pitchFamily="34" charset="-120"/>
              </a:rPr>
              <a:t>月</a:t>
            </a:r>
            <a:r>
              <a:rPr lang="en-US" altLang="zh-TW" sz="800" dirty="0" smtClean="0">
                <a:solidFill>
                  <a:schemeClr val="bg1"/>
                </a:solidFill>
                <a:latin typeface="Verdana" panose="020B0604030504040204" pitchFamily="34" charset="0"/>
                <a:ea typeface="Verdana" panose="020B0604030504040204" pitchFamily="34" charset="0"/>
              </a:rPr>
              <a:t>31</a:t>
            </a:r>
            <a:r>
              <a:rPr lang="zh-TW" altLang="en-US" sz="800" dirty="0" smtClean="0">
                <a:solidFill>
                  <a:schemeClr val="bg1"/>
                </a:solidFill>
                <a:latin typeface="Verdana" panose="020B0604030504040204" pitchFamily="34" charset="0"/>
                <a:ea typeface="微軟正黑體" panose="020B0604030504040204" pitchFamily="34" charset="-120"/>
              </a:rPr>
              <a:t>日 </a:t>
            </a:r>
            <a:endParaRPr lang="en-US" altLang="zh-TW" sz="800" dirty="0">
              <a:solidFill>
                <a:schemeClr val="bg1"/>
              </a:solidFill>
              <a:latin typeface="Verdana" panose="020B0604030504040204" pitchFamily="34" charset="0"/>
              <a:ea typeface="微軟正黑體" panose="020B0604030504040204" pitchFamily="34" charset="-120"/>
            </a:endParaRPr>
          </a:p>
          <a:p>
            <a:pPr>
              <a:lnSpc>
                <a:spcPct val="150000"/>
              </a:lnSpc>
            </a:pPr>
            <a:r>
              <a:rPr lang="en-US" altLang="zh-TW" sz="800" dirty="0" smtClean="0">
                <a:solidFill>
                  <a:schemeClr val="bg1"/>
                </a:solidFill>
                <a:latin typeface="Verdana" panose="020B0604030504040204" pitchFamily="34" charset="0"/>
                <a:ea typeface="微軟正黑體" panose="020B0604030504040204" pitchFamily="34" charset="-120"/>
              </a:rPr>
              <a:t>(</a:t>
            </a:r>
            <a:r>
              <a:rPr lang="zh-TW" altLang="en-US" sz="800" dirty="0" smtClean="0">
                <a:solidFill>
                  <a:schemeClr val="bg1"/>
                </a:solidFill>
                <a:latin typeface="Verdana" panose="020B0604030504040204" pitchFamily="34" charset="0"/>
                <a:ea typeface="微軟正黑體" panose="020B0604030504040204" pitchFamily="34" charset="-120"/>
              </a:rPr>
              <a:t>每週</a:t>
            </a:r>
            <a:r>
              <a:rPr lang="zh-TW" altLang="en-US" sz="800" dirty="0">
                <a:solidFill>
                  <a:schemeClr val="bg1"/>
                </a:solidFill>
                <a:latin typeface="Verdana" panose="020B0604030504040204" pitchFamily="34" charset="0"/>
                <a:ea typeface="微軟正黑體" panose="020B0604030504040204" pitchFamily="34" charset="-120"/>
              </a:rPr>
              <a:t>上班需至少</a:t>
            </a:r>
            <a:r>
              <a:rPr lang="en-US" altLang="zh-TW" sz="800" dirty="0">
                <a:solidFill>
                  <a:schemeClr val="bg1"/>
                </a:solidFill>
                <a:latin typeface="Verdana" panose="020B0604030504040204" pitchFamily="34" charset="0"/>
                <a:ea typeface="Verdana" panose="020B0604030504040204" pitchFamily="34" charset="0"/>
              </a:rPr>
              <a:t>3</a:t>
            </a:r>
            <a:r>
              <a:rPr lang="zh-TW" altLang="en-US" sz="800" dirty="0" smtClean="0">
                <a:solidFill>
                  <a:schemeClr val="bg1"/>
                </a:solidFill>
                <a:latin typeface="Verdana" panose="020B0604030504040204" pitchFamily="34" charset="0"/>
                <a:ea typeface="微軟正黑體" panose="020B0604030504040204" pitchFamily="34" charset="-120"/>
              </a:rPr>
              <a:t>天、至少需六個月以上</a:t>
            </a:r>
            <a:r>
              <a:rPr lang="en-US" altLang="zh-TW" sz="800" dirty="0" smtClean="0">
                <a:solidFill>
                  <a:schemeClr val="bg1"/>
                </a:solidFill>
                <a:latin typeface="Verdana" panose="020B0604030504040204" pitchFamily="34" charset="0"/>
                <a:ea typeface="微軟正黑體" panose="020B0604030504040204" pitchFamily="34" charset="-120"/>
              </a:rPr>
              <a:t>)</a:t>
            </a:r>
            <a:endParaRPr lang="en-US" altLang="zh-TW" sz="800" dirty="0">
              <a:solidFill>
                <a:schemeClr val="bg1"/>
              </a:solidFill>
              <a:latin typeface="Verdana" panose="020B0604030504040204" pitchFamily="34" charset="0"/>
              <a:ea typeface="微軟正黑體" panose="020B0604030504040204" pitchFamily="34" charset="-120"/>
            </a:endParaRPr>
          </a:p>
          <a:p>
            <a:pPr>
              <a:lnSpc>
                <a:spcPct val="150000"/>
              </a:lnSpc>
            </a:pPr>
            <a:r>
              <a:rPr lang="en-US" altLang="zh-TW" sz="800" dirty="0">
                <a:solidFill>
                  <a:schemeClr val="bg1"/>
                </a:solidFill>
                <a:latin typeface="Verdana" panose="020B0604030504040204" pitchFamily="34" charset="0"/>
                <a:ea typeface="Verdana" panose="020B0604030504040204" pitchFamily="34" charset="0"/>
              </a:rPr>
              <a:t>◆</a:t>
            </a:r>
            <a:r>
              <a:rPr lang="zh-TW" altLang="en-US" sz="800" b="1" dirty="0">
                <a:solidFill>
                  <a:srgbClr val="86BC25"/>
                </a:solidFill>
                <a:latin typeface="Verdana" panose="020B0604030504040204" pitchFamily="34" charset="0"/>
                <a:ea typeface="微軟正黑體" panose="020B0604030504040204" pitchFamily="34" charset="-120"/>
              </a:rPr>
              <a:t>實習內容：</a:t>
            </a:r>
            <a:endParaRPr lang="en-US" altLang="zh-TW" sz="800" b="1" dirty="0">
              <a:solidFill>
                <a:srgbClr val="86BC25"/>
              </a:solidFill>
              <a:latin typeface="Verdana" panose="020B0604030504040204" pitchFamily="34" charset="0"/>
              <a:ea typeface="微軟正黑體" panose="020B0604030504040204" pitchFamily="34" charset="-120"/>
            </a:endParaRPr>
          </a:p>
          <a:p>
            <a:pPr>
              <a:lnSpc>
                <a:spcPct val="150000"/>
              </a:lnSpc>
            </a:pPr>
            <a:r>
              <a:rPr lang="zh-TW" altLang="en-US" sz="800" dirty="0">
                <a:solidFill>
                  <a:schemeClr val="bg1"/>
                </a:solidFill>
                <a:latin typeface="Verdana" panose="020B0604030504040204" pitchFamily="34" charset="0"/>
                <a:ea typeface="微軟正黑體" panose="020B0604030504040204" pitchFamily="34" charset="-120"/>
              </a:rPr>
              <a:t>運用</a:t>
            </a:r>
            <a:r>
              <a:rPr lang="en-US" altLang="zh-TW" sz="800" dirty="0">
                <a:solidFill>
                  <a:schemeClr val="bg1"/>
                </a:solidFill>
                <a:latin typeface="Verdana" panose="020B0604030504040204" pitchFamily="34" charset="0"/>
                <a:ea typeface="微軟正黑體" panose="020B0604030504040204" pitchFamily="34" charset="-120"/>
              </a:rPr>
              <a:t>ERP</a:t>
            </a:r>
            <a:r>
              <a:rPr lang="zh-TW" altLang="en-US" sz="800" dirty="0">
                <a:solidFill>
                  <a:schemeClr val="bg1"/>
                </a:solidFill>
                <a:latin typeface="Verdana" panose="020B0604030504040204" pitchFamily="34" charset="0"/>
                <a:ea typeface="微軟正黑體" panose="020B0604030504040204" pitchFamily="34" charset="-120"/>
              </a:rPr>
              <a:t>稽核工具及</a:t>
            </a:r>
            <a:r>
              <a:rPr lang="en-US" altLang="zh-TW" sz="800" dirty="0">
                <a:solidFill>
                  <a:schemeClr val="bg1"/>
                </a:solidFill>
                <a:latin typeface="Verdana" panose="020B0604030504040204" pitchFamily="34" charset="0"/>
                <a:ea typeface="微軟正黑體" panose="020B0604030504040204" pitchFamily="34" charset="-120"/>
              </a:rPr>
              <a:t>ERP</a:t>
            </a:r>
            <a:r>
              <a:rPr lang="zh-TW" altLang="en-US" sz="800" dirty="0">
                <a:solidFill>
                  <a:schemeClr val="bg1"/>
                </a:solidFill>
                <a:latin typeface="Verdana" panose="020B0604030504040204" pitchFamily="34" charset="0"/>
                <a:ea typeface="微軟正黑體" panose="020B0604030504040204" pitchFamily="34" charset="-120"/>
              </a:rPr>
              <a:t>演練環境，深入</a:t>
            </a:r>
            <a:r>
              <a:rPr lang="en-US" altLang="zh-TW" sz="800" dirty="0">
                <a:solidFill>
                  <a:schemeClr val="bg1"/>
                </a:solidFill>
                <a:latin typeface="Verdana" panose="020B0604030504040204" pitchFamily="34" charset="0"/>
                <a:ea typeface="微軟正黑體" panose="020B0604030504040204" pitchFamily="34" charset="-120"/>
              </a:rPr>
              <a:t>ERP</a:t>
            </a:r>
            <a:r>
              <a:rPr lang="zh-TW" altLang="en-US" sz="800" dirty="0">
                <a:solidFill>
                  <a:schemeClr val="bg1"/>
                </a:solidFill>
                <a:latin typeface="Verdana" panose="020B0604030504040204" pitchFamily="34" charset="0"/>
                <a:ea typeface="微軟正黑體" panose="020B0604030504040204" pitchFamily="34" charset="-120"/>
              </a:rPr>
              <a:t>稽核技術及原理原則實作暨歸納、整理</a:t>
            </a:r>
            <a:r>
              <a:rPr lang="zh-TW" altLang="en-US" sz="800" dirty="0" smtClean="0">
                <a:solidFill>
                  <a:schemeClr val="bg1"/>
                </a:solidFill>
                <a:latin typeface="Verdana" panose="020B0604030504040204" pitchFamily="34" charset="0"/>
                <a:ea typeface="微軟正黑體" panose="020B0604030504040204" pitchFamily="34" charset="-120"/>
              </a:rPr>
              <a:t>。</a:t>
            </a:r>
            <a:endParaRPr lang="en-US" altLang="zh-TW" sz="800" dirty="0" smtClean="0">
              <a:solidFill>
                <a:schemeClr val="bg1"/>
              </a:solidFill>
              <a:latin typeface="Verdana" panose="020B0604030504040204" pitchFamily="34" charset="0"/>
              <a:ea typeface="微軟正黑體" panose="020B0604030504040204" pitchFamily="34" charset="-120"/>
            </a:endParaRPr>
          </a:p>
          <a:p>
            <a:pPr>
              <a:lnSpc>
                <a:spcPct val="150000"/>
              </a:lnSpc>
            </a:pPr>
            <a:r>
              <a:rPr lang="en-US" altLang="zh-TW" sz="800" dirty="0" smtClean="0">
                <a:solidFill>
                  <a:schemeClr val="bg1"/>
                </a:solidFill>
                <a:latin typeface="Verdana" panose="020B0604030504040204" pitchFamily="34" charset="0"/>
                <a:ea typeface="Verdana" panose="020B0604030504040204" pitchFamily="34" charset="0"/>
              </a:rPr>
              <a:t>◆</a:t>
            </a:r>
            <a:r>
              <a:rPr lang="zh-TW" altLang="en-US" sz="800" b="1" dirty="0">
                <a:solidFill>
                  <a:srgbClr val="86BC25"/>
                </a:solidFill>
                <a:latin typeface="Verdana" panose="020B0604030504040204" pitchFamily="34" charset="0"/>
                <a:ea typeface="微軟正黑體" panose="020B0604030504040204" pitchFamily="34" charset="-120"/>
              </a:rPr>
              <a:t>實習地點：</a:t>
            </a:r>
            <a:endParaRPr lang="en-US" altLang="zh-TW" sz="800" b="1" dirty="0">
              <a:solidFill>
                <a:srgbClr val="86BC25"/>
              </a:solidFill>
              <a:latin typeface="Verdana" panose="020B0604030504040204" pitchFamily="34" charset="0"/>
              <a:ea typeface="微軟正黑體" panose="020B0604030504040204" pitchFamily="34" charset="-120"/>
            </a:endParaRPr>
          </a:p>
          <a:p>
            <a:pPr>
              <a:lnSpc>
                <a:spcPct val="150000"/>
              </a:lnSpc>
            </a:pPr>
            <a:r>
              <a:rPr lang="zh-TW" altLang="en-US" sz="800" dirty="0">
                <a:solidFill>
                  <a:schemeClr val="bg1"/>
                </a:solidFill>
                <a:latin typeface="Verdana" panose="020B0604030504040204" pitchFamily="34" charset="0"/>
                <a:ea typeface="微軟正黑體" panose="020B0604030504040204" pitchFamily="34" charset="-120"/>
              </a:rPr>
              <a:t>勤業眾信 </a:t>
            </a:r>
            <a:r>
              <a:rPr lang="zh-TW" altLang="en-US" sz="800" dirty="0" smtClean="0">
                <a:solidFill>
                  <a:schemeClr val="bg1"/>
                </a:solidFill>
                <a:latin typeface="Verdana" panose="020B0604030504040204" pitchFamily="34" charset="0"/>
                <a:ea typeface="微軟正黑體" panose="020B0604030504040204" pitchFamily="34" charset="-120"/>
              </a:rPr>
              <a:t>台北所 </a:t>
            </a:r>
            <a:r>
              <a:rPr lang="en-US" altLang="zh-TW" sz="800" dirty="0" smtClean="0">
                <a:solidFill>
                  <a:schemeClr val="bg1"/>
                </a:solidFill>
                <a:latin typeface="Verdana" panose="020B0604030504040204" pitchFamily="34" charset="0"/>
                <a:ea typeface="微軟正黑體" panose="020B0604030504040204" pitchFamily="34" charset="-120"/>
              </a:rPr>
              <a:t>(</a:t>
            </a:r>
            <a:r>
              <a:rPr lang="zh-TW" altLang="en-US" sz="800" dirty="0" smtClean="0">
                <a:solidFill>
                  <a:schemeClr val="bg1"/>
                </a:solidFill>
                <a:latin typeface="Verdana" panose="020B0604030504040204" pitchFamily="34" charset="0"/>
                <a:ea typeface="微軟正黑體" panose="020B0604030504040204" pitchFamily="34" charset="-120"/>
              </a:rPr>
              <a:t>台北市信義區松仁路</a:t>
            </a:r>
            <a:r>
              <a:rPr lang="en-US" altLang="zh-TW" sz="800" dirty="0" smtClean="0">
                <a:solidFill>
                  <a:schemeClr val="bg1"/>
                </a:solidFill>
                <a:latin typeface="Verdana" panose="020B0604030504040204" pitchFamily="34" charset="0"/>
                <a:ea typeface="微軟正黑體" panose="020B0604030504040204" pitchFamily="34" charset="-120"/>
              </a:rPr>
              <a:t>100</a:t>
            </a:r>
            <a:r>
              <a:rPr lang="zh-TW" altLang="en-US" sz="800" dirty="0" smtClean="0">
                <a:solidFill>
                  <a:schemeClr val="bg1"/>
                </a:solidFill>
                <a:latin typeface="Verdana" panose="020B0604030504040204" pitchFamily="34" charset="0"/>
                <a:ea typeface="微軟正黑體" panose="020B0604030504040204" pitchFamily="34" charset="-120"/>
              </a:rPr>
              <a:t>號</a:t>
            </a:r>
            <a:r>
              <a:rPr lang="en-US" altLang="zh-TW" sz="800" dirty="0" smtClean="0">
                <a:solidFill>
                  <a:schemeClr val="bg1"/>
                </a:solidFill>
                <a:latin typeface="Verdana" panose="020B0604030504040204" pitchFamily="34" charset="0"/>
                <a:ea typeface="微軟正黑體" panose="020B0604030504040204" pitchFamily="34" charset="-120"/>
              </a:rPr>
              <a:t>21F)</a:t>
            </a:r>
            <a:endParaRPr lang="en-US" altLang="zh-TW" sz="800" dirty="0">
              <a:solidFill>
                <a:schemeClr val="bg1"/>
              </a:solidFill>
              <a:latin typeface="Verdana" panose="020B0604030504040204" pitchFamily="34" charset="0"/>
              <a:ea typeface="微軟正黑體" panose="020B0604030504040204" pitchFamily="34" charset="-120"/>
            </a:endParaRPr>
          </a:p>
          <a:p>
            <a:pPr>
              <a:lnSpc>
                <a:spcPct val="150000"/>
              </a:lnSpc>
            </a:pPr>
            <a:r>
              <a:rPr lang="en-US" altLang="zh-TW" sz="800" dirty="0">
                <a:solidFill>
                  <a:schemeClr val="bg1"/>
                </a:solidFill>
                <a:latin typeface="Verdana" panose="020B0604030504040204" pitchFamily="34" charset="0"/>
                <a:ea typeface="Verdana" panose="020B0604030504040204" pitchFamily="34" charset="0"/>
              </a:rPr>
              <a:t>◆</a:t>
            </a:r>
            <a:r>
              <a:rPr lang="zh-TW" altLang="en-US" sz="800" b="1" dirty="0">
                <a:solidFill>
                  <a:srgbClr val="86BC25"/>
                </a:solidFill>
                <a:latin typeface="Verdana" panose="020B0604030504040204" pitchFamily="34" charset="0"/>
                <a:ea typeface="微軟正黑體" panose="020B0604030504040204" pitchFamily="34" charset="-120"/>
              </a:rPr>
              <a:t>上班時間：</a:t>
            </a:r>
            <a:endParaRPr lang="en-US" altLang="zh-TW" sz="800" b="1" dirty="0">
              <a:solidFill>
                <a:srgbClr val="86BC25"/>
              </a:solidFill>
              <a:latin typeface="Verdana" panose="020B0604030504040204" pitchFamily="34" charset="0"/>
              <a:ea typeface="微軟正黑體" panose="020B0604030504040204" pitchFamily="34" charset="-120"/>
            </a:endParaRPr>
          </a:p>
          <a:p>
            <a:pPr>
              <a:lnSpc>
                <a:spcPct val="150000"/>
              </a:lnSpc>
            </a:pPr>
            <a:r>
              <a:rPr lang="zh-TW" altLang="en-US" sz="800" dirty="0">
                <a:solidFill>
                  <a:schemeClr val="bg1"/>
                </a:solidFill>
                <a:latin typeface="Verdana" panose="020B0604030504040204" pitchFamily="34" charset="0"/>
                <a:ea typeface="微軟正黑體" panose="020B0604030504040204" pitchFamily="34" charset="-120"/>
              </a:rPr>
              <a:t>彈性上下班時間</a:t>
            </a:r>
            <a:r>
              <a:rPr lang="zh-TW" altLang="en-US" sz="800" dirty="0" smtClean="0">
                <a:solidFill>
                  <a:schemeClr val="bg1"/>
                </a:solidFill>
                <a:latin typeface="Verdana" panose="020B0604030504040204" pitchFamily="34" charset="0"/>
                <a:ea typeface="微軟正黑體" panose="020B0604030504040204" pitchFamily="34" charset="-120"/>
              </a:rPr>
              <a:t>：</a:t>
            </a:r>
            <a:r>
              <a:rPr lang="en-US" altLang="zh-TW" sz="800">
                <a:solidFill>
                  <a:schemeClr val="bg1"/>
                </a:solidFill>
                <a:latin typeface="Verdana" panose="020B0604030504040204" pitchFamily="34" charset="0"/>
                <a:ea typeface="微軟正黑體" panose="020B0604030504040204" pitchFamily="34" charset="-120"/>
              </a:rPr>
              <a:t>08:30~17:30/09:00~18:00</a:t>
            </a:r>
            <a:endParaRPr lang="en-US" altLang="zh-TW" sz="800" dirty="0">
              <a:solidFill>
                <a:schemeClr val="bg1"/>
              </a:solidFill>
              <a:latin typeface="Verdana" panose="020B0604030504040204" pitchFamily="34" charset="0"/>
              <a:ea typeface="微軟正黑體" panose="020B0604030504040204" pitchFamily="34" charset="-120"/>
            </a:endParaRPr>
          </a:p>
          <a:p>
            <a:pPr lvl="0" algn="r" defTabSz="1219179">
              <a:buSzPct val="100000"/>
            </a:pPr>
            <a:endParaRPr lang="zh-TW" altLang="zh-TW" sz="800" b="1" kern="100" dirty="0">
              <a:solidFill>
                <a:schemeClr val="bg1"/>
              </a:solidFill>
              <a:latin typeface="Calibri" panose="020F0502020204030204" pitchFamily="34" charset="0"/>
              <a:ea typeface="新細明體" panose="02020500000000000000" pitchFamily="18" charset="-120"/>
              <a:cs typeface="Times New Roman" panose="02020603050405020304" pitchFamily="18" charset="0"/>
            </a:endParaRPr>
          </a:p>
        </p:txBody>
      </p:sp>
      <p:sp>
        <p:nvSpPr>
          <p:cNvPr id="15" name="橢圓 14"/>
          <p:cNvSpPr>
            <a:spLocks noChangeAspect="1"/>
          </p:cNvSpPr>
          <p:nvPr/>
        </p:nvSpPr>
        <p:spPr bwMode="gray">
          <a:xfrm>
            <a:off x="372561" y="2111153"/>
            <a:ext cx="216000" cy="216000"/>
          </a:xfrm>
          <a:prstGeom prst="ellipse">
            <a:avLst/>
          </a:prstGeom>
          <a:solidFill>
            <a:srgbClr val="86BC25"/>
          </a:solidFill>
          <a:ln w="19050" algn="ctr">
            <a:noFill/>
            <a:miter lim="800000"/>
            <a:headEnd/>
            <a:tailEnd/>
          </a:ln>
          <a:effectLst>
            <a:innerShdw blurRad="63500" dist="50800" dir="13500000">
              <a:prstClr val="black">
                <a:alpha val="50000"/>
              </a:prstClr>
            </a:innerShdw>
          </a:effectLst>
        </p:spPr>
        <p:txBody>
          <a:bodyPr wrap="square" lIns="88900" tIns="88900" rIns="88900" bIns="88900" rtlCol="0" anchor="ctr"/>
          <a:lstStyle/>
          <a:p>
            <a:pPr algn="ctr">
              <a:lnSpc>
                <a:spcPct val="106000"/>
              </a:lnSpc>
              <a:buFont typeface="Wingdings 2" pitchFamily="18" charset="2"/>
              <a:buNone/>
            </a:pPr>
            <a:endParaRPr lang="zh-TW" altLang="en-US" sz="1400" b="1" dirty="0" smtClean="0">
              <a:solidFill>
                <a:srgbClr val="6FC2B4"/>
              </a:solidFill>
            </a:endParaRPr>
          </a:p>
        </p:txBody>
      </p:sp>
      <p:sp>
        <p:nvSpPr>
          <p:cNvPr id="19" name="矩形 18"/>
          <p:cNvSpPr/>
          <p:nvPr/>
        </p:nvSpPr>
        <p:spPr>
          <a:xfrm>
            <a:off x="2970372" y="4046824"/>
            <a:ext cx="2870514" cy="707886"/>
          </a:xfrm>
          <a:prstGeom prst="rect">
            <a:avLst/>
          </a:prstGeom>
        </p:spPr>
        <p:txBody>
          <a:bodyPr wrap="square">
            <a:spAutoFit/>
          </a:bodyPr>
          <a:lstStyle/>
          <a:p>
            <a:pPr>
              <a:lnSpc>
                <a:spcPct val="150000"/>
              </a:lnSpc>
            </a:pPr>
            <a:r>
              <a:rPr lang="zh-TW" altLang="en-US" sz="800" dirty="0" smtClean="0">
                <a:solidFill>
                  <a:schemeClr val="bg1"/>
                </a:solidFill>
                <a:latin typeface="Verdana" panose="020B0604030504040204" pitchFamily="34" charset="0"/>
                <a:ea typeface="微軟正黑體" panose="020B0604030504040204" pitchFamily="34" charset="-120"/>
              </a:rPr>
              <a:t>如有興趣可直接於下列網址投遞履歷</a:t>
            </a:r>
            <a:endParaRPr lang="en-US" altLang="zh-TW" sz="800" dirty="0" smtClean="0">
              <a:solidFill>
                <a:schemeClr val="bg1"/>
              </a:solidFill>
              <a:latin typeface="Verdana" panose="020B0604030504040204" pitchFamily="34" charset="0"/>
              <a:ea typeface="微軟正黑體" panose="020B0604030504040204" pitchFamily="34" charset="-120"/>
            </a:endParaRPr>
          </a:p>
          <a:p>
            <a:pPr>
              <a:lnSpc>
                <a:spcPct val="150000"/>
              </a:lnSpc>
            </a:pPr>
            <a:r>
              <a:rPr lang="zh-TW" altLang="en-US" sz="800" smtClean="0">
                <a:solidFill>
                  <a:schemeClr val="bg1"/>
                </a:solidFill>
                <a:latin typeface="Verdana" panose="020B0604030504040204" pitchFamily="34" charset="0"/>
                <a:ea typeface="微軟正黑體" panose="020B0604030504040204" pitchFamily="34" charset="-120"/>
              </a:rPr>
              <a:t>或向資管系謝</a:t>
            </a:r>
            <a:r>
              <a:rPr lang="zh-TW" altLang="en-US" sz="800" dirty="0">
                <a:solidFill>
                  <a:schemeClr val="bg1"/>
                </a:solidFill>
                <a:latin typeface="Verdana" panose="020B0604030504040204" pitchFamily="34" charset="0"/>
                <a:ea typeface="微軟正黑體" panose="020B0604030504040204" pitchFamily="34" charset="-120"/>
              </a:rPr>
              <a:t>岱</a:t>
            </a:r>
            <a:r>
              <a:rPr lang="zh-TW" altLang="en-US" sz="800" dirty="0" smtClean="0">
                <a:solidFill>
                  <a:schemeClr val="bg1"/>
                </a:solidFill>
                <a:latin typeface="Verdana" panose="020B0604030504040204" pitchFamily="34" charset="0"/>
                <a:ea typeface="微軟正黑體" panose="020B0604030504040204" pitchFamily="34" charset="-120"/>
              </a:rPr>
              <a:t>融助教聯繫</a:t>
            </a:r>
            <a:endParaRPr lang="en-US" altLang="zh-TW" sz="800" dirty="0">
              <a:solidFill>
                <a:schemeClr val="bg1"/>
              </a:solidFill>
              <a:latin typeface="Verdana" panose="020B0604030504040204" pitchFamily="34" charset="0"/>
              <a:ea typeface="微軟正黑體" panose="020B0604030504040204" pitchFamily="34" charset="-120"/>
            </a:endParaRPr>
          </a:p>
          <a:p>
            <a:pPr lvl="0" algn="r" defTabSz="1219179">
              <a:buSzPct val="100000"/>
            </a:pPr>
            <a:endParaRPr lang="en-US" altLang="zh-TW" sz="800" b="1" kern="100" dirty="0" smtClean="0">
              <a:solidFill>
                <a:schemeClr val="bg1"/>
              </a:solidFill>
              <a:latin typeface="Calibri" panose="020F0502020204030204" pitchFamily="34" charset="0"/>
              <a:ea typeface="新細明體" panose="02020500000000000000" pitchFamily="18" charset="-120"/>
              <a:cs typeface="Times New Roman" panose="02020603050405020304" pitchFamily="18" charset="0"/>
            </a:endParaRPr>
          </a:p>
          <a:p>
            <a:pPr lvl="0" algn="r" defTabSz="1219179">
              <a:buSzPct val="100000"/>
            </a:pPr>
            <a:r>
              <a:rPr lang="en-US" altLang="zh-TW" sz="800" b="1" kern="100" dirty="0" smtClean="0">
                <a:solidFill>
                  <a:schemeClr val="bg1"/>
                </a:solidFill>
                <a:latin typeface="Calibri" panose="020F0502020204030204" pitchFamily="34" charset="0"/>
                <a:ea typeface="新細明體" panose="02020500000000000000" pitchFamily="18" charset="-120"/>
                <a:cs typeface="Times New Roman" panose="02020603050405020304" pitchFamily="18" charset="0"/>
              </a:rPr>
              <a:t>https</a:t>
            </a:r>
            <a:r>
              <a:rPr lang="en-US" altLang="zh-TW" sz="800" b="1" kern="100" dirty="0">
                <a:solidFill>
                  <a:schemeClr val="bg1"/>
                </a:solidFill>
                <a:latin typeface="Calibri" panose="020F0502020204030204" pitchFamily="34" charset="0"/>
                <a:ea typeface="新細明體" panose="02020500000000000000" pitchFamily="18" charset="-120"/>
                <a:cs typeface="Times New Roman" panose="02020603050405020304" pitchFamily="18" charset="0"/>
              </a:rPr>
              <a:t>://www.104.com.tw/job/6xlp6?jobsource=company_job</a:t>
            </a:r>
            <a:endParaRPr lang="zh-TW" altLang="zh-TW" sz="800" b="1" kern="100" dirty="0">
              <a:solidFill>
                <a:schemeClr val="bg1"/>
              </a:solidFill>
              <a:latin typeface="Calibri" panose="020F0502020204030204" pitchFamily="34" charset="0"/>
              <a:ea typeface="新細明體" panose="02020500000000000000" pitchFamily="18" charset="-120"/>
              <a:cs typeface="Times New Roman" panose="02020603050405020304" pitchFamily="18" charset="0"/>
            </a:endParaRPr>
          </a:p>
        </p:txBody>
      </p:sp>
    </p:spTree>
    <p:extLst>
      <p:ext uri="{BB962C8B-B14F-4D97-AF65-F5344CB8AC3E}">
        <p14:creationId xmlns:p14="http://schemas.microsoft.com/office/powerpoint/2010/main" val="388586264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16_9_Onscreen_tw">
  <a:themeElements>
    <a:clrScheme name="自訂 18">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自訂 1">
      <a:majorFont>
        <a:latin typeface="Calibri"/>
        <a:ea typeface="微軟正黑體"/>
        <a:cs typeface=""/>
      </a:majorFont>
      <a:minorFont>
        <a:latin typeface="Calibri"/>
        <a:ea typeface="微軟正黑體"/>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afult.potx" id="{0712763E-6028-41C7-A9E9-5890F3268004}" vid="{C301CB77-7231-4B8A-8024-AF40F8F775D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305</TotalTime>
  <Words>155</Words>
  <Application>Microsoft Office PowerPoint</Application>
  <PresentationFormat>自訂</PresentationFormat>
  <Paragraphs>23</Paragraphs>
  <Slides>1</Slides>
  <Notes>0</Notes>
  <HiddenSlides>0</HiddenSlides>
  <MMClips>0</MMClips>
  <ScaleCrop>false</ScaleCrop>
  <HeadingPairs>
    <vt:vector size="8" baseType="variant">
      <vt:variant>
        <vt:lpstr>使用字型</vt:lpstr>
      </vt:variant>
      <vt:variant>
        <vt:i4>9</vt:i4>
      </vt:variant>
      <vt:variant>
        <vt:lpstr>佈景主題</vt:lpstr>
      </vt:variant>
      <vt:variant>
        <vt:i4>1</vt:i4>
      </vt:variant>
      <vt:variant>
        <vt:lpstr>內嵌 OLE 伺服程式</vt:lpstr>
      </vt:variant>
      <vt:variant>
        <vt:i4>1</vt:i4>
      </vt:variant>
      <vt:variant>
        <vt:lpstr>投影片標題</vt:lpstr>
      </vt:variant>
      <vt:variant>
        <vt:i4>1</vt:i4>
      </vt:variant>
    </vt:vector>
  </HeadingPairs>
  <TitlesOfParts>
    <vt:vector size="12" baseType="lpstr">
      <vt:lpstr>Open Sans</vt:lpstr>
      <vt:lpstr>微軟正黑體</vt:lpstr>
      <vt:lpstr>新細明體</vt:lpstr>
      <vt:lpstr>Arial</vt:lpstr>
      <vt:lpstr>Bradley Hand ITC</vt:lpstr>
      <vt:lpstr>Calibri</vt:lpstr>
      <vt:lpstr>Times New Roman</vt:lpstr>
      <vt:lpstr>Verdana</vt:lpstr>
      <vt:lpstr>Wingdings 2</vt:lpstr>
      <vt:lpstr>Deloitte_16_9_Onscreen_tw</vt:lpstr>
      <vt:lpstr>think-cell Slide</vt:lpstr>
      <vt:lpstr>PowerPoint 簡報</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簡報</dc:title>
  <dc:creator>Huang, Lynn C.</dc:creator>
  <cp:lastModifiedBy>Shen, Roy H.</cp:lastModifiedBy>
  <cp:revision>18</cp:revision>
  <cp:lastPrinted>2014-06-25T02:16:22Z</cp:lastPrinted>
  <dcterms:created xsi:type="dcterms:W3CDTF">2021-04-08T02:32:08Z</dcterms:created>
  <dcterms:modified xsi:type="dcterms:W3CDTF">2021-06-30T06:1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4-08T02:32:14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79107e3-2daf-4aac-8daa-edd7414f7019</vt:lpwstr>
  </property>
  <property fmtid="{D5CDD505-2E9C-101B-9397-08002B2CF9AE}" pid="8" name="MSIP_Label_ea60d57e-af5b-4752-ac57-3e4f28ca11dc_ContentBits">
    <vt:lpwstr>0</vt:lpwstr>
  </property>
</Properties>
</file>